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xml" ContentType="application/vnd.openxmlformats-officedocument.drawingml.chart+xml"/>
  <Override PartName="/ppt/charts/chart1080.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42.xml" ContentType="application/vnd.openxmlformats-officedocument.drawingml.chart+xml"/>
  <Override PartName="/ppt/charts/chart743.xml" ContentType="application/vnd.openxmlformats-officedocument.drawingml.chart+xml"/>
  <Override PartName="/ppt/charts/chart744.xml" ContentType="application/vnd.openxmlformats-officedocument.drawingml.chart+xml"/>
  <Override PartName="/ppt/charts/chart745.xml" ContentType="application/vnd.openxmlformats-officedocument.drawingml.chart+xml"/>
  <Override PartName="/ppt/charts/chart746.xml" ContentType="application/vnd.openxmlformats-officedocument.drawingml.chart+xml"/>
  <Override PartName="/ppt/charts/chart747.xml" ContentType="application/vnd.openxmlformats-officedocument.drawingml.chart+xml"/>
  <Override PartName="/ppt/charts/chart748.xml" ContentType="application/vnd.openxmlformats-officedocument.drawingml.chart+xml"/>
  <Override PartName="/ppt/charts/chart749.xml" ContentType="application/vnd.openxmlformats-officedocument.drawingml.chart+xml"/>
  <Override PartName="/ppt/charts/chart75.xml" ContentType="application/vnd.openxmlformats-officedocument.drawingml.chart+xml"/>
  <Override PartName="/ppt/charts/chart750.xml" ContentType="application/vnd.openxmlformats-officedocument.drawingml.chart+xml"/>
  <Override PartName="/ppt/charts/chart751.xml" ContentType="application/vnd.openxmlformats-officedocument.drawingml.chart+xml"/>
  <Override PartName="/ppt/charts/chart752.xml" ContentType="application/vnd.openxmlformats-officedocument.drawingml.chart+xml"/>
  <Override PartName="/ppt/charts/chart753.xml" ContentType="application/vnd.openxmlformats-officedocument.drawingml.chart+xml"/>
  <Override PartName="/ppt/charts/chart754.xml" ContentType="application/vnd.openxmlformats-officedocument.drawingml.chart+xml"/>
  <Override PartName="/ppt/charts/chart755.xml" ContentType="application/vnd.openxmlformats-officedocument.drawingml.chart+xml"/>
  <Override PartName="/ppt/charts/chart756.xml" ContentType="application/vnd.openxmlformats-officedocument.drawingml.chart+xml"/>
  <Override PartName="/ppt/charts/chart757.xml" ContentType="application/vnd.openxmlformats-officedocument.drawingml.chart+xml"/>
  <Override PartName="/ppt/charts/chart758.xml" ContentType="application/vnd.openxmlformats-officedocument.drawingml.chart+xml"/>
  <Override PartName="/ppt/charts/chart759.xml" ContentType="application/vnd.openxmlformats-officedocument.drawingml.chart+xml"/>
  <Override PartName="/ppt/charts/chart76.xml" ContentType="application/vnd.openxmlformats-officedocument.drawingml.chart+xml"/>
  <Override PartName="/ppt/charts/chart760.xml" ContentType="application/vnd.openxmlformats-officedocument.drawingml.chart+xml"/>
  <Override PartName="/ppt/charts/chart761.xml" ContentType="application/vnd.openxmlformats-officedocument.drawingml.chart+xml"/>
  <Override PartName="/ppt/charts/chart762.xml" ContentType="application/vnd.openxmlformats-officedocument.drawingml.chart+xml"/>
  <Override PartName="/ppt/charts/chart763.xml" ContentType="application/vnd.openxmlformats-officedocument.drawingml.chart+xml"/>
  <Override PartName="/ppt/charts/chart764.xml" ContentType="application/vnd.openxmlformats-officedocument.drawingml.chart+xml"/>
  <Override PartName="/ppt/charts/chart765.xml" ContentType="application/vnd.openxmlformats-officedocument.drawingml.chart+xml"/>
  <Override PartName="/ppt/charts/chart766.xml" ContentType="application/vnd.openxmlformats-officedocument.drawingml.chart+xml"/>
  <Override PartName="/ppt/charts/chart767.xml" ContentType="application/vnd.openxmlformats-officedocument.drawingml.chart+xml"/>
  <Override PartName="/ppt/charts/chart768.xml" ContentType="application/vnd.openxmlformats-officedocument.drawingml.chart+xml"/>
  <Override PartName="/ppt/charts/chart769.xml" ContentType="application/vnd.openxmlformats-officedocument.drawingml.chart+xml"/>
  <Override PartName="/ppt/charts/chart77.xml" ContentType="application/vnd.openxmlformats-officedocument.drawingml.chart+xml"/>
  <Override PartName="/ppt/charts/chart770.xml" ContentType="application/vnd.openxmlformats-officedocument.drawingml.chart+xml"/>
  <Override PartName="/ppt/charts/chart771.xml" ContentType="application/vnd.openxmlformats-officedocument.drawingml.chart+xml"/>
  <Override PartName="/ppt/charts/chart772.xml" ContentType="application/vnd.openxmlformats-officedocument.drawingml.chart+xml"/>
  <Override PartName="/ppt/charts/chart773.xml" ContentType="application/vnd.openxmlformats-officedocument.drawingml.chart+xml"/>
  <Override PartName="/ppt/charts/chart774.xml" ContentType="application/vnd.openxmlformats-officedocument.drawingml.chart+xml"/>
  <Override PartName="/ppt/charts/chart775.xml" ContentType="application/vnd.openxmlformats-officedocument.drawingml.chart+xml"/>
  <Override PartName="/ppt/charts/chart776.xml" ContentType="application/vnd.openxmlformats-officedocument.drawingml.chart+xml"/>
  <Override PartName="/ppt/charts/chart777.xml" ContentType="application/vnd.openxmlformats-officedocument.drawingml.chart+xml"/>
  <Override PartName="/ppt/charts/chart778.xml" ContentType="application/vnd.openxmlformats-officedocument.drawingml.chart+xml"/>
  <Override PartName="/ppt/charts/chart779.xml" ContentType="application/vnd.openxmlformats-officedocument.drawingml.chart+xml"/>
  <Override PartName="/ppt/charts/chart78.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5"/>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BE74534-DA86-4C17-90A4-870992774813}">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notesMaster" Target="notesMasters/notesMaster1.xml"/><Relationship Id="rId96" Type="http://schemas.openxmlformats.org/officeDocument/2006/relationships/presProps" Target="presProps.xml"/><Relationship Id="rId97" Type="http://schemas.openxmlformats.org/officeDocument/2006/relationships/viewProps" Target="viewProps.xml"/><Relationship Id="rId98" Type="http://schemas.openxmlformats.org/officeDocument/2006/relationships/theme" Target="theme/theme1.xml"/><Relationship Id="rId99" Type="http://schemas.openxmlformats.org/officeDocument/2006/relationships/tableStyles" Target="tableStyles.xml"/><Relationship Id="rId100" Type="http://schemas.microsoft.com/office/2015/10/relationships/revisionInfo" Target="revisionInfo.xml"/><Relationship Id="rId10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00.xml.rels><?xml version='1.0' encoding='UTF-8' standalone='yes'?>
<Relationships xmlns="http://schemas.openxmlformats.org/package/2006/relationships"><Relationship Id="rId1" Type="http://schemas.openxmlformats.org/officeDocument/2006/relationships/package" Target="../embeddings/Microsoft_Excel_Worksheet999.xlsx"/></Relationships>
</file>

<file path=ppt/charts/_rels/chart1001.xml.rels><?xml version='1.0' encoding='UTF-8' standalone='yes'?>
<Relationships xmlns="http://schemas.openxmlformats.org/package/2006/relationships"><Relationship Id="rId1" Type="http://schemas.openxmlformats.org/officeDocument/2006/relationships/package" Target="../embeddings/Microsoft_Excel_Worksheet1000.xlsx"/></Relationships>
</file>

<file path=ppt/charts/_rels/chart1002.xml.rels><?xml version='1.0' encoding='UTF-8' standalone='yes'?>
<Relationships xmlns="http://schemas.openxmlformats.org/package/2006/relationships"><Relationship Id="rId1" Type="http://schemas.openxmlformats.org/officeDocument/2006/relationships/package" Target="../embeddings/Microsoft_Excel_Worksheet1001.xlsx"/></Relationships>
</file>

<file path=ppt/charts/_rels/chart1003.xml.rels><?xml version='1.0' encoding='UTF-8' standalone='yes'?>
<Relationships xmlns="http://schemas.openxmlformats.org/package/2006/relationships"><Relationship Id="rId1" Type="http://schemas.openxmlformats.org/officeDocument/2006/relationships/package" Target="../embeddings/Microsoft_Excel_Worksheet1002.xlsx"/></Relationships>
</file>

<file path=ppt/charts/_rels/chart1004.xml.rels><?xml version='1.0' encoding='UTF-8' standalone='yes'?>
<Relationships xmlns="http://schemas.openxmlformats.org/package/2006/relationships"><Relationship Id="rId1" Type="http://schemas.openxmlformats.org/officeDocument/2006/relationships/package" Target="../embeddings/Microsoft_Excel_Worksheet1003.xlsx"/></Relationships>
</file>

<file path=ppt/charts/_rels/chart1005.xml.rels><?xml version='1.0' encoding='UTF-8' standalone='yes'?>
<Relationships xmlns="http://schemas.openxmlformats.org/package/2006/relationships"><Relationship Id="rId1" Type="http://schemas.openxmlformats.org/officeDocument/2006/relationships/package" Target="../embeddings/Microsoft_Excel_Worksheet1004.xlsx"/></Relationships>
</file>

<file path=ppt/charts/_rels/chart1006.xml.rels><?xml version='1.0' encoding='UTF-8' standalone='yes'?>
<Relationships xmlns="http://schemas.openxmlformats.org/package/2006/relationships"><Relationship Id="rId1" Type="http://schemas.openxmlformats.org/officeDocument/2006/relationships/package" Target="../embeddings/Microsoft_Excel_Worksheet1005.xlsx"/></Relationships>
</file>

<file path=ppt/charts/_rels/chart1007.xml.rels><?xml version='1.0' encoding='UTF-8' standalone='yes'?>
<Relationships xmlns="http://schemas.openxmlformats.org/package/2006/relationships"><Relationship Id="rId1" Type="http://schemas.openxmlformats.org/officeDocument/2006/relationships/package" Target="../embeddings/Microsoft_Excel_Worksheet1006.xlsx"/></Relationships>
</file>

<file path=ppt/charts/_rels/chart1008.xml.rels><?xml version='1.0' encoding='UTF-8' standalone='yes'?>
<Relationships xmlns="http://schemas.openxmlformats.org/package/2006/relationships"><Relationship Id="rId1" Type="http://schemas.openxmlformats.org/officeDocument/2006/relationships/package" Target="../embeddings/Microsoft_Excel_Worksheet1007.xlsx"/></Relationships>
</file>

<file path=ppt/charts/_rels/chart1009.xml.rels><?xml version='1.0' encoding='UTF-8' standalone='yes'?>
<Relationships xmlns="http://schemas.openxmlformats.org/package/2006/relationships"><Relationship Id="rId1" Type="http://schemas.openxmlformats.org/officeDocument/2006/relationships/package" Target="../embeddings/Microsoft_Excel_Worksheet1008.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10.xml.rels><?xml version='1.0' encoding='UTF-8' standalone='yes'?>
<Relationships xmlns="http://schemas.openxmlformats.org/package/2006/relationships"><Relationship Id="rId1" Type="http://schemas.openxmlformats.org/officeDocument/2006/relationships/package" Target="../embeddings/Microsoft_Excel_Worksheet1009.xlsx"/></Relationships>
</file>

<file path=ppt/charts/_rels/chart1011.xml.rels><?xml version='1.0' encoding='UTF-8' standalone='yes'?>
<Relationships xmlns="http://schemas.openxmlformats.org/package/2006/relationships"><Relationship Id="rId1" Type="http://schemas.openxmlformats.org/officeDocument/2006/relationships/package" Target="../embeddings/Microsoft_Excel_Worksheet1010.xlsx"/></Relationships>
</file>

<file path=ppt/charts/_rels/chart1012.xml.rels><?xml version='1.0' encoding='UTF-8' standalone='yes'?>
<Relationships xmlns="http://schemas.openxmlformats.org/package/2006/relationships"><Relationship Id="rId1" Type="http://schemas.openxmlformats.org/officeDocument/2006/relationships/package" Target="../embeddings/Microsoft_Excel_Worksheet1011.xlsx"/></Relationships>
</file>

<file path=ppt/charts/_rels/chart1013.xml.rels><?xml version='1.0' encoding='UTF-8' standalone='yes'?>
<Relationships xmlns="http://schemas.openxmlformats.org/package/2006/relationships"><Relationship Id="rId1" Type="http://schemas.openxmlformats.org/officeDocument/2006/relationships/package" Target="../embeddings/Microsoft_Excel_Worksheet1012.xlsx"/></Relationships>
</file>

<file path=ppt/charts/_rels/chart1014.xml.rels><?xml version='1.0' encoding='UTF-8' standalone='yes'?>
<Relationships xmlns="http://schemas.openxmlformats.org/package/2006/relationships"><Relationship Id="rId1" Type="http://schemas.openxmlformats.org/officeDocument/2006/relationships/package" Target="../embeddings/Microsoft_Excel_Worksheet1013.xlsx"/></Relationships>
</file>

<file path=ppt/charts/_rels/chart1015.xml.rels><?xml version='1.0' encoding='UTF-8' standalone='yes'?>
<Relationships xmlns="http://schemas.openxmlformats.org/package/2006/relationships"><Relationship Id="rId1" Type="http://schemas.openxmlformats.org/officeDocument/2006/relationships/package" Target="../embeddings/Microsoft_Excel_Worksheet1014.xlsx"/></Relationships>
</file>

<file path=ppt/charts/_rels/chart1016.xml.rels><?xml version='1.0' encoding='UTF-8' standalone='yes'?>
<Relationships xmlns="http://schemas.openxmlformats.org/package/2006/relationships"><Relationship Id="rId1" Type="http://schemas.openxmlformats.org/officeDocument/2006/relationships/package" Target="../embeddings/Microsoft_Excel_Worksheet1015.xlsx"/></Relationships>
</file>

<file path=ppt/charts/_rels/chart1017.xml.rels><?xml version='1.0' encoding='UTF-8' standalone='yes'?>
<Relationships xmlns="http://schemas.openxmlformats.org/package/2006/relationships"><Relationship Id="rId1" Type="http://schemas.openxmlformats.org/officeDocument/2006/relationships/package" Target="../embeddings/Microsoft_Excel_Worksheet1016.xlsx"/></Relationships>
</file>

<file path=ppt/charts/_rels/chart1018.xml.rels><?xml version='1.0' encoding='UTF-8' standalone='yes'?>
<Relationships xmlns="http://schemas.openxmlformats.org/package/2006/relationships"><Relationship Id="rId1" Type="http://schemas.openxmlformats.org/officeDocument/2006/relationships/package" Target="../embeddings/Microsoft_Excel_Worksheet1017.xlsx"/></Relationships>
</file>

<file path=ppt/charts/_rels/chart1019.xml.rels><?xml version='1.0' encoding='UTF-8' standalone='yes'?>
<Relationships xmlns="http://schemas.openxmlformats.org/package/2006/relationships"><Relationship Id="rId1" Type="http://schemas.openxmlformats.org/officeDocument/2006/relationships/package" Target="../embeddings/Microsoft_Excel_Worksheet1018.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20.xml.rels><?xml version='1.0' encoding='UTF-8' standalone='yes'?>
<Relationships xmlns="http://schemas.openxmlformats.org/package/2006/relationships"><Relationship Id="rId1" Type="http://schemas.openxmlformats.org/officeDocument/2006/relationships/package" Target="../embeddings/Microsoft_Excel_Worksheet1019.xlsx"/></Relationships>
</file>

<file path=ppt/charts/_rels/chart1021.xml.rels><?xml version='1.0' encoding='UTF-8' standalone='yes'?>
<Relationships xmlns="http://schemas.openxmlformats.org/package/2006/relationships"><Relationship Id="rId1" Type="http://schemas.openxmlformats.org/officeDocument/2006/relationships/package" Target="../embeddings/Microsoft_Excel_Worksheet1020.xlsx"/></Relationships>
</file>

<file path=ppt/charts/_rels/chart1022.xml.rels><?xml version='1.0' encoding='UTF-8' standalone='yes'?>
<Relationships xmlns="http://schemas.openxmlformats.org/package/2006/relationships"><Relationship Id="rId1" Type="http://schemas.openxmlformats.org/officeDocument/2006/relationships/package" Target="../embeddings/Microsoft_Excel_Worksheet1021.xlsx"/></Relationships>
</file>

<file path=ppt/charts/_rels/chart1023.xml.rels><?xml version='1.0' encoding='UTF-8' standalone='yes'?>
<Relationships xmlns="http://schemas.openxmlformats.org/package/2006/relationships"><Relationship Id="rId1" Type="http://schemas.openxmlformats.org/officeDocument/2006/relationships/package" Target="../embeddings/Microsoft_Excel_Worksheet1022.xlsx"/></Relationships>
</file>

<file path=ppt/charts/_rels/chart1024.xml.rels><?xml version='1.0' encoding='UTF-8' standalone='yes'?>
<Relationships xmlns="http://schemas.openxmlformats.org/package/2006/relationships"><Relationship Id="rId1" Type="http://schemas.openxmlformats.org/officeDocument/2006/relationships/package" Target="../embeddings/Microsoft_Excel_Worksheet1023.xlsx"/></Relationships>
</file>

<file path=ppt/charts/_rels/chart1025.xml.rels><?xml version='1.0' encoding='UTF-8' standalone='yes'?>
<Relationships xmlns="http://schemas.openxmlformats.org/package/2006/relationships"><Relationship Id="rId1" Type="http://schemas.openxmlformats.org/officeDocument/2006/relationships/package" Target="../embeddings/Microsoft_Excel_Worksheet1024.xlsx"/></Relationships>
</file>

<file path=ppt/charts/_rels/chart1026.xml.rels><?xml version='1.0' encoding='UTF-8' standalone='yes'?>
<Relationships xmlns="http://schemas.openxmlformats.org/package/2006/relationships"><Relationship Id="rId1" Type="http://schemas.openxmlformats.org/officeDocument/2006/relationships/package" Target="../embeddings/Microsoft_Excel_Worksheet1025.xlsx"/></Relationships>
</file>

<file path=ppt/charts/_rels/chart1027.xml.rels><?xml version='1.0' encoding='UTF-8' standalone='yes'?>
<Relationships xmlns="http://schemas.openxmlformats.org/package/2006/relationships"><Relationship Id="rId1" Type="http://schemas.openxmlformats.org/officeDocument/2006/relationships/package" Target="../embeddings/Microsoft_Excel_Worksheet1026.xlsx"/></Relationships>
</file>

<file path=ppt/charts/_rels/chart1028.xml.rels><?xml version='1.0' encoding='UTF-8' standalone='yes'?>
<Relationships xmlns="http://schemas.openxmlformats.org/package/2006/relationships"><Relationship Id="rId1" Type="http://schemas.openxmlformats.org/officeDocument/2006/relationships/package" Target="../embeddings/Microsoft_Excel_Worksheet1027.xlsx"/></Relationships>
</file>

<file path=ppt/charts/_rels/chart1029.xml.rels><?xml version='1.0' encoding='UTF-8' standalone='yes'?>
<Relationships xmlns="http://schemas.openxmlformats.org/package/2006/relationships"><Relationship Id="rId1" Type="http://schemas.openxmlformats.org/officeDocument/2006/relationships/package" Target="../embeddings/Microsoft_Excel_Worksheet1028.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30.xml.rels><?xml version='1.0' encoding='UTF-8' standalone='yes'?>
<Relationships xmlns="http://schemas.openxmlformats.org/package/2006/relationships"><Relationship Id="rId1" Type="http://schemas.openxmlformats.org/officeDocument/2006/relationships/package" Target="../embeddings/Microsoft_Excel_Worksheet1029.xlsx"/></Relationships>
</file>

<file path=ppt/charts/_rels/chart1031.xml.rels><?xml version='1.0' encoding='UTF-8' standalone='yes'?>
<Relationships xmlns="http://schemas.openxmlformats.org/package/2006/relationships"><Relationship Id="rId1" Type="http://schemas.openxmlformats.org/officeDocument/2006/relationships/package" Target="../embeddings/Microsoft_Excel_Worksheet1030.xlsx"/></Relationships>
</file>

<file path=ppt/charts/_rels/chart1032.xml.rels><?xml version='1.0' encoding='UTF-8' standalone='yes'?>
<Relationships xmlns="http://schemas.openxmlformats.org/package/2006/relationships"><Relationship Id="rId1" Type="http://schemas.openxmlformats.org/officeDocument/2006/relationships/package" Target="../embeddings/Microsoft_Excel_Worksheet1031.xlsx"/></Relationships>
</file>

<file path=ppt/charts/_rels/chart1033.xml.rels><?xml version='1.0' encoding='UTF-8' standalone='yes'?>
<Relationships xmlns="http://schemas.openxmlformats.org/package/2006/relationships"><Relationship Id="rId1" Type="http://schemas.openxmlformats.org/officeDocument/2006/relationships/package" Target="../embeddings/Microsoft_Excel_Worksheet1032.xlsx"/></Relationships>
</file>

<file path=ppt/charts/_rels/chart1034.xml.rels><?xml version='1.0' encoding='UTF-8' standalone='yes'?>
<Relationships xmlns="http://schemas.openxmlformats.org/package/2006/relationships"><Relationship Id="rId1" Type="http://schemas.openxmlformats.org/officeDocument/2006/relationships/package" Target="../embeddings/Microsoft_Excel_Worksheet1033.xlsx"/></Relationships>
</file>

<file path=ppt/charts/_rels/chart1035.xml.rels><?xml version='1.0' encoding='UTF-8' standalone='yes'?>
<Relationships xmlns="http://schemas.openxmlformats.org/package/2006/relationships"><Relationship Id="rId1" Type="http://schemas.openxmlformats.org/officeDocument/2006/relationships/package" Target="../embeddings/Microsoft_Excel_Worksheet1034.xlsx"/></Relationships>
</file>

<file path=ppt/charts/_rels/chart1036.xml.rels><?xml version='1.0' encoding='UTF-8' standalone='yes'?>
<Relationships xmlns="http://schemas.openxmlformats.org/package/2006/relationships"><Relationship Id="rId1" Type="http://schemas.openxmlformats.org/officeDocument/2006/relationships/package" Target="../embeddings/Microsoft_Excel_Worksheet1035.xlsx"/></Relationships>
</file>

<file path=ppt/charts/_rels/chart1037.xml.rels><?xml version='1.0' encoding='UTF-8' standalone='yes'?>
<Relationships xmlns="http://schemas.openxmlformats.org/package/2006/relationships"><Relationship Id="rId1" Type="http://schemas.openxmlformats.org/officeDocument/2006/relationships/package" Target="../embeddings/Microsoft_Excel_Worksheet1036.xlsx"/></Relationships>
</file>

<file path=ppt/charts/_rels/chart1038.xml.rels><?xml version='1.0' encoding='UTF-8' standalone='yes'?>
<Relationships xmlns="http://schemas.openxmlformats.org/package/2006/relationships"><Relationship Id="rId1" Type="http://schemas.openxmlformats.org/officeDocument/2006/relationships/package" Target="../embeddings/Microsoft_Excel_Worksheet1037.xlsx"/></Relationships>
</file>

<file path=ppt/charts/_rels/chart1039.xml.rels><?xml version='1.0' encoding='UTF-8' standalone='yes'?>
<Relationships xmlns="http://schemas.openxmlformats.org/package/2006/relationships"><Relationship Id="rId1" Type="http://schemas.openxmlformats.org/officeDocument/2006/relationships/package" Target="../embeddings/Microsoft_Excel_Worksheet1038.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40.xml.rels><?xml version='1.0' encoding='UTF-8' standalone='yes'?>
<Relationships xmlns="http://schemas.openxmlformats.org/package/2006/relationships"><Relationship Id="rId1" Type="http://schemas.openxmlformats.org/officeDocument/2006/relationships/package" Target="../embeddings/Microsoft_Excel_Worksheet1039.xlsx"/></Relationships>
</file>

<file path=ppt/charts/_rels/chart1041.xml.rels><?xml version='1.0' encoding='UTF-8' standalone='yes'?>
<Relationships xmlns="http://schemas.openxmlformats.org/package/2006/relationships"><Relationship Id="rId1" Type="http://schemas.openxmlformats.org/officeDocument/2006/relationships/package" Target="../embeddings/Microsoft_Excel_Worksheet1040.xlsx"/></Relationships>
</file>

<file path=ppt/charts/_rels/chart1042.xml.rels><?xml version='1.0' encoding='UTF-8' standalone='yes'?>
<Relationships xmlns="http://schemas.openxmlformats.org/package/2006/relationships"><Relationship Id="rId1" Type="http://schemas.openxmlformats.org/officeDocument/2006/relationships/package" Target="../embeddings/Microsoft_Excel_Worksheet1041.xlsx"/></Relationships>
</file>

<file path=ppt/charts/_rels/chart1043.xml.rels><?xml version='1.0' encoding='UTF-8' standalone='yes'?>
<Relationships xmlns="http://schemas.openxmlformats.org/package/2006/relationships"><Relationship Id="rId1" Type="http://schemas.openxmlformats.org/officeDocument/2006/relationships/package" Target="../embeddings/Microsoft_Excel_Worksheet1042.xlsx"/></Relationships>
</file>

<file path=ppt/charts/_rels/chart1044.xml.rels><?xml version='1.0' encoding='UTF-8' standalone='yes'?>
<Relationships xmlns="http://schemas.openxmlformats.org/package/2006/relationships"><Relationship Id="rId1" Type="http://schemas.openxmlformats.org/officeDocument/2006/relationships/package" Target="../embeddings/Microsoft_Excel_Worksheet1043.xlsx"/></Relationships>
</file>

<file path=ppt/charts/_rels/chart1045.xml.rels><?xml version='1.0' encoding='UTF-8' standalone='yes'?>
<Relationships xmlns="http://schemas.openxmlformats.org/package/2006/relationships"><Relationship Id="rId1" Type="http://schemas.openxmlformats.org/officeDocument/2006/relationships/package" Target="../embeddings/Microsoft_Excel_Worksheet1044.xlsx"/></Relationships>
</file>

<file path=ppt/charts/_rels/chart1046.xml.rels><?xml version='1.0' encoding='UTF-8' standalone='yes'?>
<Relationships xmlns="http://schemas.openxmlformats.org/package/2006/relationships"><Relationship Id="rId1" Type="http://schemas.openxmlformats.org/officeDocument/2006/relationships/package" Target="../embeddings/Microsoft_Excel_Worksheet1045.xlsx"/></Relationships>
</file>

<file path=ppt/charts/_rels/chart1047.xml.rels><?xml version='1.0' encoding='UTF-8' standalone='yes'?>
<Relationships xmlns="http://schemas.openxmlformats.org/package/2006/relationships"><Relationship Id="rId1" Type="http://schemas.openxmlformats.org/officeDocument/2006/relationships/package" Target="../embeddings/Microsoft_Excel_Worksheet1046.xlsx"/></Relationships>
</file>

<file path=ppt/charts/_rels/chart1048.xml.rels><?xml version='1.0' encoding='UTF-8' standalone='yes'?>
<Relationships xmlns="http://schemas.openxmlformats.org/package/2006/relationships"><Relationship Id="rId1" Type="http://schemas.openxmlformats.org/officeDocument/2006/relationships/package" Target="../embeddings/Microsoft_Excel_Worksheet1047.xlsx"/></Relationships>
</file>

<file path=ppt/charts/_rels/chart1049.xml.rels><?xml version='1.0' encoding='UTF-8' standalone='yes'?>
<Relationships xmlns="http://schemas.openxmlformats.org/package/2006/relationships"><Relationship Id="rId1" Type="http://schemas.openxmlformats.org/officeDocument/2006/relationships/package" Target="../embeddings/Microsoft_Excel_Worksheet1048.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50.xml.rels><?xml version='1.0' encoding='UTF-8' standalone='yes'?>
<Relationships xmlns="http://schemas.openxmlformats.org/package/2006/relationships"><Relationship Id="rId1" Type="http://schemas.openxmlformats.org/officeDocument/2006/relationships/package" Target="../embeddings/Microsoft_Excel_Worksheet1049.xlsx"/></Relationships>
</file>

<file path=ppt/charts/_rels/chart1051.xml.rels><?xml version='1.0' encoding='UTF-8' standalone='yes'?>
<Relationships xmlns="http://schemas.openxmlformats.org/package/2006/relationships"><Relationship Id="rId1" Type="http://schemas.openxmlformats.org/officeDocument/2006/relationships/package" Target="../embeddings/Microsoft_Excel_Worksheet1050.xlsx"/></Relationships>
</file>

<file path=ppt/charts/_rels/chart1052.xml.rels><?xml version='1.0' encoding='UTF-8' standalone='yes'?>
<Relationships xmlns="http://schemas.openxmlformats.org/package/2006/relationships"><Relationship Id="rId1" Type="http://schemas.openxmlformats.org/officeDocument/2006/relationships/package" Target="../embeddings/Microsoft_Excel_Worksheet1051.xlsx"/></Relationships>
</file>

<file path=ppt/charts/_rels/chart1053.xml.rels><?xml version='1.0' encoding='UTF-8' standalone='yes'?>
<Relationships xmlns="http://schemas.openxmlformats.org/package/2006/relationships"><Relationship Id="rId1" Type="http://schemas.openxmlformats.org/officeDocument/2006/relationships/package" Target="../embeddings/Microsoft_Excel_Worksheet1052.xlsx"/></Relationships>
</file>

<file path=ppt/charts/_rels/chart1054.xml.rels><?xml version='1.0' encoding='UTF-8' standalone='yes'?>
<Relationships xmlns="http://schemas.openxmlformats.org/package/2006/relationships"><Relationship Id="rId1" Type="http://schemas.openxmlformats.org/officeDocument/2006/relationships/package" Target="../embeddings/Microsoft_Excel_Worksheet1053.xlsx"/></Relationships>
</file>

<file path=ppt/charts/_rels/chart1055.xml.rels><?xml version='1.0' encoding='UTF-8' standalone='yes'?>
<Relationships xmlns="http://schemas.openxmlformats.org/package/2006/relationships"><Relationship Id="rId1" Type="http://schemas.openxmlformats.org/officeDocument/2006/relationships/package" Target="../embeddings/Microsoft_Excel_Worksheet1054.xlsx"/></Relationships>
</file>

<file path=ppt/charts/_rels/chart1056.xml.rels><?xml version='1.0' encoding='UTF-8' standalone='yes'?>
<Relationships xmlns="http://schemas.openxmlformats.org/package/2006/relationships"><Relationship Id="rId1" Type="http://schemas.openxmlformats.org/officeDocument/2006/relationships/package" Target="../embeddings/Microsoft_Excel_Worksheet1055.xlsx"/></Relationships>
</file>

<file path=ppt/charts/_rels/chart1057.xml.rels><?xml version='1.0' encoding='UTF-8' standalone='yes'?>
<Relationships xmlns="http://schemas.openxmlformats.org/package/2006/relationships"><Relationship Id="rId1" Type="http://schemas.openxmlformats.org/officeDocument/2006/relationships/package" Target="../embeddings/Microsoft_Excel_Worksheet1056.xlsx"/></Relationships>
</file>

<file path=ppt/charts/_rels/chart1058.xml.rels><?xml version='1.0' encoding='UTF-8' standalone='yes'?>
<Relationships xmlns="http://schemas.openxmlformats.org/package/2006/relationships"><Relationship Id="rId1" Type="http://schemas.openxmlformats.org/officeDocument/2006/relationships/package" Target="../embeddings/Microsoft_Excel_Worksheet1057.xlsx"/></Relationships>
</file>

<file path=ppt/charts/_rels/chart1059.xml.rels><?xml version='1.0' encoding='UTF-8' standalone='yes'?>
<Relationships xmlns="http://schemas.openxmlformats.org/package/2006/relationships"><Relationship Id="rId1" Type="http://schemas.openxmlformats.org/officeDocument/2006/relationships/package" Target="../embeddings/Microsoft_Excel_Worksheet1058.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60.xml.rels><?xml version='1.0' encoding='UTF-8' standalone='yes'?>
<Relationships xmlns="http://schemas.openxmlformats.org/package/2006/relationships"><Relationship Id="rId1" Type="http://schemas.openxmlformats.org/officeDocument/2006/relationships/package" Target="../embeddings/Microsoft_Excel_Worksheet1059.xlsx"/></Relationships>
</file>

<file path=ppt/charts/_rels/chart1061.xml.rels><?xml version='1.0' encoding='UTF-8' standalone='yes'?>
<Relationships xmlns="http://schemas.openxmlformats.org/package/2006/relationships"><Relationship Id="rId1" Type="http://schemas.openxmlformats.org/officeDocument/2006/relationships/package" Target="../embeddings/Microsoft_Excel_Worksheet1060.xlsx"/></Relationships>
</file>

<file path=ppt/charts/_rels/chart1062.xml.rels><?xml version='1.0' encoding='UTF-8' standalone='yes'?>
<Relationships xmlns="http://schemas.openxmlformats.org/package/2006/relationships"><Relationship Id="rId1" Type="http://schemas.openxmlformats.org/officeDocument/2006/relationships/package" Target="../embeddings/Microsoft_Excel_Worksheet1061.xlsx"/></Relationships>
</file>

<file path=ppt/charts/_rels/chart1063.xml.rels><?xml version='1.0' encoding='UTF-8' standalone='yes'?>
<Relationships xmlns="http://schemas.openxmlformats.org/package/2006/relationships"><Relationship Id="rId1" Type="http://schemas.openxmlformats.org/officeDocument/2006/relationships/package" Target="../embeddings/Microsoft_Excel_Worksheet1062.xlsx"/></Relationships>
</file>

<file path=ppt/charts/_rels/chart1064.xml.rels><?xml version='1.0' encoding='UTF-8' standalone='yes'?>
<Relationships xmlns="http://schemas.openxmlformats.org/package/2006/relationships"><Relationship Id="rId1" Type="http://schemas.openxmlformats.org/officeDocument/2006/relationships/package" Target="../embeddings/Microsoft_Excel_Worksheet1063.xlsx"/></Relationships>
</file>

<file path=ppt/charts/_rels/chart1065.xml.rels><?xml version='1.0' encoding='UTF-8' standalone='yes'?>
<Relationships xmlns="http://schemas.openxmlformats.org/package/2006/relationships"><Relationship Id="rId1" Type="http://schemas.openxmlformats.org/officeDocument/2006/relationships/package" Target="../embeddings/Microsoft_Excel_Worksheet1064.xlsx"/></Relationships>
</file>

<file path=ppt/charts/_rels/chart1066.xml.rels><?xml version='1.0' encoding='UTF-8' standalone='yes'?>
<Relationships xmlns="http://schemas.openxmlformats.org/package/2006/relationships"><Relationship Id="rId1" Type="http://schemas.openxmlformats.org/officeDocument/2006/relationships/package" Target="../embeddings/Microsoft_Excel_Worksheet1065.xlsx"/></Relationships>
</file>

<file path=ppt/charts/_rels/chart1067.xml.rels><?xml version='1.0' encoding='UTF-8' standalone='yes'?>
<Relationships xmlns="http://schemas.openxmlformats.org/package/2006/relationships"><Relationship Id="rId1" Type="http://schemas.openxmlformats.org/officeDocument/2006/relationships/package" Target="../embeddings/Microsoft_Excel_Worksheet1066.xlsx"/></Relationships>
</file>

<file path=ppt/charts/_rels/chart1068.xml.rels><?xml version='1.0' encoding='UTF-8' standalone='yes'?>
<Relationships xmlns="http://schemas.openxmlformats.org/package/2006/relationships"><Relationship Id="rId1" Type="http://schemas.openxmlformats.org/officeDocument/2006/relationships/package" Target="../embeddings/Microsoft_Excel_Worksheet1067.xlsx"/></Relationships>
</file>

<file path=ppt/charts/_rels/chart1069.xml.rels><?xml version='1.0' encoding='UTF-8' standalone='yes'?>
<Relationships xmlns="http://schemas.openxmlformats.org/package/2006/relationships"><Relationship Id="rId1" Type="http://schemas.openxmlformats.org/officeDocument/2006/relationships/package" Target="../embeddings/Microsoft_Excel_Worksheet1068.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70.xml.rels><?xml version='1.0' encoding='UTF-8' standalone='yes'?>
<Relationships xmlns="http://schemas.openxmlformats.org/package/2006/relationships"><Relationship Id="rId1" Type="http://schemas.openxmlformats.org/officeDocument/2006/relationships/package" Target="../embeddings/Microsoft_Excel_Worksheet1069.xlsx"/></Relationships>
</file>

<file path=ppt/charts/_rels/chart1071.xml.rels><?xml version='1.0' encoding='UTF-8' standalone='yes'?>
<Relationships xmlns="http://schemas.openxmlformats.org/package/2006/relationships"><Relationship Id="rId1" Type="http://schemas.openxmlformats.org/officeDocument/2006/relationships/package" Target="../embeddings/Microsoft_Excel_Worksheet1070.xlsx"/></Relationships>
</file>

<file path=ppt/charts/_rels/chart1072.xml.rels><?xml version='1.0' encoding='UTF-8' standalone='yes'?>
<Relationships xmlns="http://schemas.openxmlformats.org/package/2006/relationships"><Relationship Id="rId1" Type="http://schemas.openxmlformats.org/officeDocument/2006/relationships/package" Target="../embeddings/Microsoft_Excel_Worksheet1071.xlsx"/></Relationships>
</file>

<file path=ppt/charts/_rels/chart1073.xml.rels><?xml version='1.0' encoding='UTF-8' standalone='yes'?>
<Relationships xmlns="http://schemas.openxmlformats.org/package/2006/relationships"><Relationship Id="rId1" Type="http://schemas.openxmlformats.org/officeDocument/2006/relationships/package" Target="../embeddings/Microsoft_Excel_Worksheet1072.xlsx"/></Relationships>
</file>

<file path=ppt/charts/_rels/chart1074.xml.rels><?xml version='1.0' encoding='UTF-8' standalone='yes'?>
<Relationships xmlns="http://schemas.openxmlformats.org/package/2006/relationships"><Relationship Id="rId1" Type="http://schemas.openxmlformats.org/officeDocument/2006/relationships/package" Target="../embeddings/Microsoft_Excel_Worksheet1073.xlsx"/></Relationships>
</file>

<file path=ppt/charts/_rels/chart1075.xml.rels><?xml version='1.0' encoding='UTF-8' standalone='yes'?>
<Relationships xmlns="http://schemas.openxmlformats.org/package/2006/relationships"><Relationship Id="rId1" Type="http://schemas.openxmlformats.org/officeDocument/2006/relationships/package" Target="../embeddings/Microsoft_Excel_Worksheet1074.xlsx"/></Relationships>
</file>

<file path=ppt/charts/_rels/chart1076.xml.rels><?xml version='1.0' encoding='UTF-8' standalone='yes'?>
<Relationships xmlns="http://schemas.openxmlformats.org/package/2006/relationships"><Relationship Id="rId1" Type="http://schemas.openxmlformats.org/officeDocument/2006/relationships/package" Target="../embeddings/Microsoft_Excel_Worksheet1075.xlsx"/></Relationships>
</file>

<file path=ppt/charts/_rels/chart1077.xml.rels><?xml version='1.0' encoding='UTF-8' standalone='yes'?>
<Relationships xmlns="http://schemas.openxmlformats.org/package/2006/relationships"><Relationship Id="rId1" Type="http://schemas.openxmlformats.org/officeDocument/2006/relationships/package" Target="../embeddings/Microsoft_Excel_Worksheet1076.xlsx"/></Relationships>
</file>

<file path=ppt/charts/_rels/chart1078.xml.rels><?xml version='1.0' encoding='UTF-8' standalone='yes'?>
<Relationships xmlns="http://schemas.openxmlformats.org/package/2006/relationships"><Relationship Id="rId1" Type="http://schemas.openxmlformats.org/officeDocument/2006/relationships/package" Target="../embeddings/Microsoft_Excel_Worksheet1077.xlsx"/></Relationships>
</file>

<file path=ppt/charts/_rels/chart1079.xml.rels><?xml version='1.0' encoding='UTF-8' standalone='yes'?>
<Relationships xmlns="http://schemas.openxmlformats.org/package/2006/relationships"><Relationship Id="rId1" Type="http://schemas.openxmlformats.org/officeDocument/2006/relationships/package" Target="../embeddings/Microsoft_Excel_Worksheet1078.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80.xml.rels><?xml version='1.0' encoding='UTF-8' standalone='yes'?>
<Relationships xmlns="http://schemas.openxmlformats.org/package/2006/relationships"><Relationship Id="rId1" Type="http://schemas.openxmlformats.org/officeDocument/2006/relationships/package" Target="../embeddings/Microsoft_Excel_Worksheet1079.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4.xml.rels><?xml version='1.0' encoding='UTF-8' standalone='yes'?>
<Relationships xmlns="http://schemas.openxmlformats.org/package/2006/relationships"><Relationship Id="rId1" Type="http://schemas.openxmlformats.org/officeDocument/2006/relationships/package" Target="../embeddings/Microsoft_Excel_Worksheet663.xlsx"/></Relationships>
</file>

<file path=ppt/charts/_rels/chart665.xml.rels><?xml version='1.0' encoding='UTF-8' standalone='yes'?>
<Relationships xmlns="http://schemas.openxmlformats.org/package/2006/relationships"><Relationship Id="rId1" Type="http://schemas.openxmlformats.org/officeDocument/2006/relationships/package" Target="../embeddings/Microsoft_Excel_Worksheet664.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69.xml.rels><?xml version='1.0' encoding='UTF-8' standalone='yes'?>
<Relationships xmlns="http://schemas.openxmlformats.org/package/2006/relationships"><Relationship Id="rId1" Type="http://schemas.openxmlformats.org/officeDocument/2006/relationships/package" Target="../embeddings/Microsoft_Excel_Worksheet668.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2.xml.rels><?xml version='1.0' encoding='UTF-8' standalone='yes'?>
<Relationships xmlns="http://schemas.openxmlformats.org/package/2006/relationships"><Relationship Id="rId1" Type="http://schemas.openxmlformats.org/officeDocument/2006/relationships/package" Target="../embeddings/Microsoft_Excel_Worksheet671.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5.xml.rels><?xml version='1.0' encoding='UTF-8' standalone='yes'?>
<Relationships xmlns="http://schemas.openxmlformats.org/package/2006/relationships"><Relationship Id="rId1" Type="http://schemas.openxmlformats.org/officeDocument/2006/relationships/package" Target="../embeddings/Microsoft_Excel_Worksheet674.xlsx"/></Relationships>
</file>

<file path=ppt/charts/_rels/chart676.xml.rels><?xml version='1.0' encoding='UTF-8' standalone='yes'?>
<Relationships xmlns="http://schemas.openxmlformats.org/package/2006/relationships"><Relationship Id="rId1" Type="http://schemas.openxmlformats.org/officeDocument/2006/relationships/package" Target="../embeddings/Microsoft_Excel_Worksheet675.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0.xml.rels><?xml version='1.0' encoding='UTF-8' standalone='yes'?>
<Relationships xmlns="http://schemas.openxmlformats.org/package/2006/relationships"><Relationship Id="rId1" Type="http://schemas.openxmlformats.org/officeDocument/2006/relationships/package" Target="../embeddings/Microsoft_Excel_Worksheet679.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2.xml.rels><?xml version='1.0' encoding='UTF-8' standalone='yes'?>
<Relationships xmlns="http://schemas.openxmlformats.org/package/2006/relationships"><Relationship Id="rId1" Type="http://schemas.openxmlformats.org/officeDocument/2006/relationships/package" Target="../embeddings/Microsoft_Excel_Worksheet681.xlsx"/></Relationships>
</file>

<file path=ppt/charts/_rels/chart683.xml.rels><?xml version='1.0' encoding='UTF-8' standalone='yes'?>
<Relationships xmlns="http://schemas.openxmlformats.org/package/2006/relationships"><Relationship Id="rId1" Type="http://schemas.openxmlformats.org/officeDocument/2006/relationships/package" Target="../embeddings/Microsoft_Excel_Worksheet682.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7.xml.rels><?xml version='1.0' encoding='UTF-8' standalone='yes'?>
<Relationships xmlns="http://schemas.openxmlformats.org/package/2006/relationships"><Relationship Id="rId1" Type="http://schemas.openxmlformats.org/officeDocument/2006/relationships/package" Target="../embeddings/Microsoft_Excel_Worksheet686.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1.xml.rels><?xml version='1.0' encoding='UTF-8' standalone='yes'?>
<Relationships xmlns="http://schemas.openxmlformats.org/package/2006/relationships"><Relationship Id="rId1" Type="http://schemas.openxmlformats.org/officeDocument/2006/relationships/package" Target="../embeddings/Microsoft_Excel_Worksheet690.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3.xml.rels><?xml version='1.0' encoding='UTF-8' standalone='yes'?>
<Relationships xmlns="http://schemas.openxmlformats.org/package/2006/relationships"><Relationship Id="rId1" Type="http://schemas.openxmlformats.org/officeDocument/2006/relationships/package" Target="../embeddings/Microsoft_Excel_Worksheet692.xlsx"/></Relationships>
</file>

<file path=ppt/charts/_rels/chart694.xml.rels><?xml version='1.0' encoding='UTF-8' standalone='yes'?>
<Relationships xmlns="http://schemas.openxmlformats.org/package/2006/relationships"><Relationship Id="rId1" Type="http://schemas.openxmlformats.org/officeDocument/2006/relationships/package" Target="../embeddings/Microsoft_Excel_Worksheet693.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8.xml.rels><?xml version='1.0' encoding='UTF-8' standalone='yes'?>
<Relationships xmlns="http://schemas.openxmlformats.org/package/2006/relationships"><Relationship Id="rId1" Type="http://schemas.openxmlformats.org/officeDocument/2006/relationships/package" Target="../embeddings/Microsoft_Excel_Worksheet697.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4.xml.rels><?xml version='1.0' encoding='UTF-8' standalone='yes'?>
<Relationships xmlns="http://schemas.openxmlformats.org/package/2006/relationships"><Relationship Id="rId1" Type="http://schemas.openxmlformats.org/officeDocument/2006/relationships/package" Target="../embeddings/Microsoft_Excel_Worksheet703.xlsx"/></Relationships>
</file>

<file path=ppt/charts/_rels/chart705.xml.rels><?xml version='1.0' encoding='UTF-8' standalone='yes'?>
<Relationships xmlns="http://schemas.openxmlformats.org/package/2006/relationships"><Relationship Id="rId1" Type="http://schemas.openxmlformats.org/officeDocument/2006/relationships/package" Target="../embeddings/Microsoft_Excel_Worksheet704.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09.xml.rels><?xml version='1.0' encoding='UTF-8' standalone='yes'?>
<Relationships xmlns="http://schemas.openxmlformats.org/package/2006/relationships"><Relationship Id="rId1" Type="http://schemas.openxmlformats.org/officeDocument/2006/relationships/package" Target="../embeddings/Microsoft_Excel_Worksheet708.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5.xml.rels><?xml version='1.0' encoding='UTF-8' standalone='yes'?>
<Relationships xmlns="http://schemas.openxmlformats.org/package/2006/relationships"><Relationship Id="rId1" Type="http://schemas.openxmlformats.org/officeDocument/2006/relationships/package" Target="../embeddings/Microsoft_Excel_Worksheet714.xlsx"/></Relationships>
</file>

<file path=ppt/charts/_rels/chart716.xml.rels><?xml version='1.0' encoding='UTF-8' standalone='yes'?>
<Relationships xmlns="http://schemas.openxmlformats.org/package/2006/relationships"><Relationship Id="rId1" Type="http://schemas.openxmlformats.org/officeDocument/2006/relationships/package" Target="../embeddings/Microsoft_Excel_Worksheet715.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0.xml.rels><?xml version='1.0' encoding='UTF-8' standalone='yes'?>
<Relationships xmlns="http://schemas.openxmlformats.org/package/2006/relationships"><Relationship Id="rId1" Type="http://schemas.openxmlformats.org/officeDocument/2006/relationships/package" Target="../embeddings/Microsoft_Excel_Worksheet719.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2.xml.rels><?xml version='1.0' encoding='UTF-8' standalone='yes'?>
<Relationships xmlns="http://schemas.openxmlformats.org/package/2006/relationships"><Relationship Id="rId1" Type="http://schemas.openxmlformats.org/officeDocument/2006/relationships/package" Target="../embeddings/Microsoft_Excel_Worksheet721.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6.xml.rels><?xml version='1.0' encoding='UTF-8' standalone='yes'?>
<Relationships xmlns="http://schemas.openxmlformats.org/package/2006/relationships"><Relationship Id="rId1" Type="http://schemas.openxmlformats.org/officeDocument/2006/relationships/package" Target="../embeddings/Microsoft_Excel_Worksheet725.xlsx"/></Relationships>
</file>

<file path=ppt/charts/_rels/chart727.xml.rels><?xml version='1.0' encoding='UTF-8' standalone='yes'?>
<Relationships xmlns="http://schemas.openxmlformats.org/package/2006/relationships"><Relationship Id="rId1" Type="http://schemas.openxmlformats.org/officeDocument/2006/relationships/package" Target="../embeddings/Microsoft_Excel_Worksheet726.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1.xml.rels><?xml version='1.0' encoding='UTF-8' standalone='yes'?>
<Relationships xmlns="http://schemas.openxmlformats.org/package/2006/relationships"><Relationship Id="rId1" Type="http://schemas.openxmlformats.org/officeDocument/2006/relationships/package" Target="../embeddings/Microsoft_Excel_Worksheet730.xlsx"/></Relationships>
</file>

<file path=ppt/charts/_rels/chart732.xml.rels><?xml version='1.0' encoding='UTF-8' standalone='yes'?>
<Relationships xmlns="http://schemas.openxmlformats.org/package/2006/relationships"><Relationship Id="rId1" Type="http://schemas.openxmlformats.org/officeDocument/2006/relationships/package" Target="../embeddings/Microsoft_Excel_Worksheet731.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6.xml.rels><?xml version='1.0' encoding='UTF-8' standalone='yes'?>
<Relationships xmlns="http://schemas.openxmlformats.org/package/2006/relationships"><Relationship Id="rId1" Type="http://schemas.openxmlformats.org/officeDocument/2006/relationships/package" Target="../embeddings/Microsoft_Excel_Worksheet735.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40.xml.rels><?xml version='1.0' encoding='UTF-8' standalone='yes'?>
<Relationships xmlns="http://schemas.openxmlformats.org/package/2006/relationships"><Relationship Id="rId1" Type="http://schemas.openxmlformats.org/officeDocument/2006/relationships/package" Target="../embeddings/Microsoft_Excel_Worksheet739.xlsx"/></Relationships>
</file>

<file path=ppt/charts/_rels/chart741.xml.rels><?xml version='1.0' encoding='UTF-8' standalone='yes'?>
<Relationships xmlns="http://schemas.openxmlformats.org/package/2006/relationships"><Relationship Id="rId1" Type="http://schemas.openxmlformats.org/officeDocument/2006/relationships/package" Target="../embeddings/Microsoft_Excel_Worksheet740.xlsx"/></Relationships>
</file>

<file path=ppt/charts/_rels/chart742.xml.rels><?xml version='1.0' encoding='UTF-8' standalone='yes'?>
<Relationships xmlns="http://schemas.openxmlformats.org/package/2006/relationships"><Relationship Id="rId1" Type="http://schemas.openxmlformats.org/officeDocument/2006/relationships/package" Target="../embeddings/Microsoft_Excel_Worksheet741.xlsx"/></Relationships>
</file>

<file path=ppt/charts/_rels/chart743.xml.rels><?xml version='1.0' encoding='UTF-8' standalone='yes'?>
<Relationships xmlns="http://schemas.openxmlformats.org/package/2006/relationships"><Relationship Id="rId1" Type="http://schemas.openxmlformats.org/officeDocument/2006/relationships/package" Target="../embeddings/Microsoft_Excel_Worksheet742.xlsx"/></Relationships>
</file>

<file path=ppt/charts/_rels/chart744.xml.rels><?xml version='1.0' encoding='UTF-8' standalone='yes'?>
<Relationships xmlns="http://schemas.openxmlformats.org/package/2006/relationships"><Relationship Id="rId1" Type="http://schemas.openxmlformats.org/officeDocument/2006/relationships/package" Target="../embeddings/Microsoft_Excel_Worksheet743.xlsx"/></Relationships>
</file>

<file path=ppt/charts/_rels/chart745.xml.rels><?xml version='1.0' encoding='UTF-8' standalone='yes'?>
<Relationships xmlns="http://schemas.openxmlformats.org/package/2006/relationships"><Relationship Id="rId1" Type="http://schemas.openxmlformats.org/officeDocument/2006/relationships/package" Target="../embeddings/Microsoft_Excel_Worksheet744.xlsx"/></Relationships>
</file>

<file path=ppt/charts/_rels/chart746.xml.rels><?xml version='1.0' encoding='UTF-8' standalone='yes'?>
<Relationships xmlns="http://schemas.openxmlformats.org/package/2006/relationships"><Relationship Id="rId1" Type="http://schemas.openxmlformats.org/officeDocument/2006/relationships/package" Target="../embeddings/Microsoft_Excel_Worksheet745.xlsx"/></Relationships>
</file>

<file path=ppt/charts/_rels/chart747.xml.rels><?xml version='1.0' encoding='UTF-8' standalone='yes'?>
<Relationships xmlns="http://schemas.openxmlformats.org/package/2006/relationships"><Relationship Id="rId1" Type="http://schemas.openxmlformats.org/officeDocument/2006/relationships/package" Target="../embeddings/Microsoft_Excel_Worksheet746.xlsx"/></Relationships>
</file>

<file path=ppt/charts/_rels/chart748.xml.rels><?xml version='1.0' encoding='UTF-8' standalone='yes'?>
<Relationships xmlns="http://schemas.openxmlformats.org/package/2006/relationships"><Relationship Id="rId1" Type="http://schemas.openxmlformats.org/officeDocument/2006/relationships/package" Target="../embeddings/Microsoft_Excel_Worksheet747.xlsx"/></Relationships>
</file>

<file path=ppt/charts/_rels/chart749.xml.rels><?xml version='1.0' encoding='UTF-8' standalone='yes'?>
<Relationships xmlns="http://schemas.openxmlformats.org/package/2006/relationships"><Relationship Id="rId1" Type="http://schemas.openxmlformats.org/officeDocument/2006/relationships/package" Target="../embeddings/Microsoft_Excel_Worksheet74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50.xml.rels><?xml version='1.0' encoding='UTF-8' standalone='yes'?>
<Relationships xmlns="http://schemas.openxmlformats.org/package/2006/relationships"><Relationship Id="rId1" Type="http://schemas.openxmlformats.org/officeDocument/2006/relationships/package" Target="../embeddings/Microsoft_Excel_Worksheet749.xlsx"/></Relationships>
</file>

<file path=ppt/charts/_rels/chart751.xml.rels><?xml version='1.0' encoding='UTF-8' standalone='yes'?>
<Relationships xmlns="http://schemas.openxmlformats.org/package/2006/relationships"><Relationship Id="rId1" Type="http://schemas.openxmlformats.org/officeDocument/2006/relationships/package" Target="../embeddings/Microsoft_Excel_Worksheet750.xlsx"/></Relationships>
</file>

<file path=ppt/charts/_rels/chart752.xml.rels><?xml version='1.0' encoding='UTF-8' standalone='yes'?>
<Relationships xmlns="http://schemas.openxmlformats.org/package/2006/relationships"><Relationship Id="rId1" Type="http://schemas.openxmlformats.org/officeDocument/2006/relationships/package" Target="../embeddings/Microsoft_Excel_Worksheet751.xlsx"/></Relationships>
</file>

<file path=ppt/charts/_rels/chart753.xml.rels><?xml version='1.0' encoding='UTF-8' standalone='yes'?>
<Relationships xmlns="http://schemas.openxmlformats.org/package/2006/relationships"><Relationship Id="rId1" Type="http://schemas.openxmlformats.org/officeDocument/2006/relationships/package" Target="../embeddings/Microsoft_Excel_Worksheet752.xlsx"/></Relationships>
</file>

<file path=ppt/charts/_rels/chart754.xml.rels><?xml version='1.0' encoding='UTF-8' standalone='yes'?>
<Relationships xmlns="http://schemas.openxmlformats.org/package/2006/relationships"><Relationship Id="rId1" Type="http://schemas.openxmlformats.org/officeDocument/2006/relationships/package" Target="../embeddings/Microsoft_Excel_Worksheet753.xlsx"/></Relationships>
</file>

<file path=ppt/charts/_rels/chart755.xml.rels><?xml version='1.0' encoding='UTF-8' standalone='yes'?>
<Relationships xmlns="http://schemas.openxmlformats.org/package/2006/relationships"><Relationship Id="rId1" Type="http://schemas.openxmlformats.org/officeDocument/2006/relationships/package" Target="../embeddings/Microsoft_Excel_Worksheet754.xlsx"/></Relationships>
</file>

<file path=ppt/charts/_rels/chart756.xml.rels><?xml version='1.0' encoding='UTF-8' standalone='yes'?>
<Relationships xmlns="http://schemas.openxmlformats.org/package/2006/relationships"><Relationship Id="rId1" Type="http://schemas.openxmlformats.org/officeDocument/2006/relationships/package" Target="../embeddings/Microsoft_Excel_Worksheet755.xlsx"/></Relationships>
</file>

<file path=ppt/charts/_rels/chart757.xml.rels><?xml version='1.0' encoding='UTF-8' standalone='yes'?>
<Relationships xmlns="http://schemas.openxmlformats.org/package/2006/relationships"><Relationship Id="rId1" Type="http://schemas.openxmlformats.org/officeDocument/2006/relationships/package" Target="../embeddings/Microsoft_Excel_Worksheet756.xlsx"/></Relationships>
</file>

<file path=ppt/charts/_rels/chart758.xml.rels><?xml version='1.0' encoding='UTF-8' standalone='yes'?>
<Relationships xmlns="http://schemas.openxmlformats.org/package/2006/relationships"><Relationship Id="rId1" Type="http://schemas.openxmlformats.org/officeDocument/2006/relationships/package" Target="../embeddings/Microsoft_Excel_Worksheet757.xlsx"/></Relationships>
</file>

<file path=ppt/charts/_rels/chart759.xml.rels><?xml version='1.0' encoding='UTF-8' standalone='yes'?>
<Relationships xmlns="http://schemas.openxmlformats.org/package/2006/relationships"><Relationship Id="rId1" Type="http://schemas.openxmlformats.org/officeDocument/2006/relationships/package" Target="../embeddings/Microsoft_Excel_Worksheet758.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60.xml.rels><?xml version='1.0' encoding='UTF-8' standalone='yes'?>
<Relationships xmlns="http://schemas.openxmlformats.org/package/2006/relationships"><Relationship Id="rId1" Type="http://schemas.openxmlformats.org/officeDocument/2006/relationships/package" Target="../embeddings/Microsoft_Excel_Worksheet759.xlsx"/></Relationships>
</file>

<file path=ppt/charts/_rels/chart761.xml.rels><?xml version='1.0' encoding='UTF-8' standalone='yes'?>
<Relationships xmlns="http://schemas.openxmlformats.org/package/2006/relationships"><Relationship Id="rId1" Type="http://schemas.openxmlformats.org/officeDocument/2006/relationships/package" Target="../embeddings/Microsoft_Excel_Worksheet760.xlsx"/></Relationships>
</file>

<file path=ppt/charts/_rels/chart762.xml.rels><?xml version='1.0' encoding='UTF-8' standalone='yes'?>
<Relationships xmlns="http://schemas.openxmlformats.org/package/2006/relationships"><Relationship Id="rId1" Type="http://schemas.openxmlformats.org/officeDocument/2006/relationships/package" Target="../embeddings/Microsoft_Excel_Worksheet761.xlsx"/></Relationships>
</file>

<file path=ppt/charts/_rels/chart763.xml.rels><?xml version='1.0' encoding='UTF-8' standalone='yes'?>
<Relationships xmlns="http://schemas.openxmlformats.org/package/2006/relationships"><Relationship Id="rId1" Type="http://schemas.openxmlformats.org/officeDocument/2006/relationships/package" Target="../embeddings/Microsoft_Excel_Worksheet762.xlsx"/></Relationships>
</file>

<file path=ppt/charts/_rels/chart764.xml.rels><?xml version='1.0' encoding='UTF-8' standalone='yes'?>
<Relationships xmlns="http://schemas.openxmlformats.org/package/2006/relationships"><Relationship Id="rId1" Type="http://schemas.openxmlformats.org/officeDocument/2006/relationships/package" Target="../embeddings/Microsoft_Excel_Worksheet763.xlsx"/></Relationships>
</file>

<file path=ppt/charts/_rels/chart765.xml.rels><?xml version='1.0' encoding='UTF-8' standalone='yes'?>
<Relationships xmlns="http://schemas.openxmlformats.org/package/2006/relationships"><Relationship Id="rId1" Type="http://schemas.openxmlformats.org/officeDocument/2006/relationships/package" Target="../embeddings/Microsoft_Excel_Worksheet764.xlsx"/></Relationships>
</file>

<file path=ppt/charts/_rels/chart766.xml.rels><?xml version='1.0' encoding='UTF-8' standalone='yes'?>
<Relationships xmlns="http://schemas.openxmlformats.org/package/2006/relationships"><Relationship Id="rId1" Type="http://schemas.openxmlformats.org/officeDocument/2006/relationships/package" Target="../embeddings/Microsoft_Excel_Worksheet765.xlsx"/></Relationships>
</file>

<file path=ppt/charts/_rels/chart767.xml.rels><?xml version='1.0' encoding='UTF-8' standalone='yes'?>
<Relationships xmlns="http://schemas.openxmlformats.org/package/2006/relationships"><Relationship Id="rId1" Type="http://schemas.openxmlformats.org/officeDocument/2006/relationships/package" Target="../embeddings/Microsoft_Excel_Worksheet766.xlsx"/></Relationships>
</file>

<file path=ppt/charts/_rels/chart768.xml.rels><?xml version='1.0' encoding='UTF-8' standalone='yes'?>
<Relationships xmlns="http://schemas.openxmlformats.org/package/2006/relationships"><Relationship Id="rId1" Type="http://schemas.openxmlformats.org/officeDocument/2006/relationships/package" Target="../embeddings/Microsoft_Excel_Worksheet767.xlsx"/></Relationships>
</file>

<file path=ppt/charts/_rels/chart769.xml.rels><?xml version='1.0' encoding='UTF-8' standalone='yes'?>
<Relationships xmlns="http://schemas.openxmlformats.org/package/2006/relationships"><Relationship Id="rId1" Type="http://schemas.openxmlformats.org/officeDocument/2006/relationships/package" Target="../embeddings/Microsoft_Excel_Worksheet768.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70.xml.rels><?xml version='1.0' encoding='UTF-8' standalone='yes'?>
<Relationships xmlns="http://schemas.openxmlformats.org/package/2006/relationships"><Relationship Id="rId1" Type="http://schemas.openxmlformats.org/officeDocument/2006/relationships/package" Target="../embeddings/Microsoft_Excel_Worksheet769.xlsx"/></Relationships>
</file>

<file path=ppt/charts/_rels/chart771.xml.rels><?xml version='1.0' encoding='UTF-8' standalone='yes'?>
<Relationships xmlns="http://schemas.openxmlformats.org/package/2006/relationships"><Relationship Id="rId1" Type="http://schemas.openxmlformats.org/officeDocument/2006/relationships/package" Target="../embeddings/Microsoft_Excel_Worksheet770.xlsx"/></Relationships>
</file>

<file path=ppt/charts/_rels/chart772.xml.rels><?xml version='1.0' encoding='UTF-8' standalone='yes'?>
<Relationships xmlns="http://schemas.openxmlformats.org/package/2006/relationships"><Relationship Id="rId1" Type="http://schemas.openxmlformats.org/officeDocument/2006/relationships/package" Target="../embeddings/Microsoft_Excel_Worksheet771.xlsx"/></Relationships>
</file>

<file path=ppt/charts/_rels/chart773.xml.rels><?xml version='1.0' encoding='UTF-8' standalone='yes'?>
<Relationships xmlns="http://schemas.openxmlformats.org/package/2006/relationships"><Relationship Id="rId1" Type="http://schemas.openxmlformats.org/officeDocument/2006/relationships/package" Target="../embeddings/Microsoft_Excel_Worksheet772.xlsx"/></Relationships>
</file>

<file path=ppt/charts/_rels/chart774.xml.rels><?xml version='1.0' encoding='UTF-8' standalone='yes'?>
<Relationships xmlns="http://schemas.openxmlformats.org/package/2006/relationships"><Relationship Id="rId1" Type="http://schemas.openxmlformats.org/officeDocument/2006/relationships/package" Target="../embeddings/Microsoft_Excel_Worksheet773.xlsx"/></Relationships>
</file>

<file path=ppt/charts/_rels/chart775.xml.rels><?xml version='1.0' encoding='UTF-8' standalone='yes'?>
<Relationships xmlns="http://schemas.openxmlformats.org/package/2006/relationships"><Relationship Id="rId1" Type="http://schemas.openxmlformats.org/officeDocument/2006/relationships/package" Target="../embeddings/Microsoft_Excel_Worksheet774.xlsx"/></Relationships>
</file>

<file path=ppt/charts/_rels/chart776.xml.rels><?xml version='1.0' encoding='UTF-8' standalone='yes'?>
<Relationships xmlns="http://schemas.openxmlformats.org/package/2006/relationships"><Relationship Id="rId1" Type="http://schemas.openxmlformats.org/officeDocument/2006/relationships/package" Target="../embeddings/Microsoft_Excel_Worksheet775.xlsx"/></Relationships>
</file>

<file path=ppt/charts/_rels/chart777.xml.rels><?xml version='1.0' encoding='UTF-8' standalone='yes'?>
<Relationships xmlns="http://schemas.openxmlformats.org/package/2006/relationships"><Relationship Id="rId1" Type="http://schemas.openxmlformats.org/officeDocument/2006/relationships/package" Target="../embeddings/Microsoft_Excel_Worksheet776.xlsx"/></Relationships>
</file>

<file path=ppt/charts/_rels/chart778.xml.rels><?xml version='1.0' encoding='UTF-8' standalone='yes'?>
<Relationships xmlns="http://schemas.openxmlformats.org/package/2006/relationships"><Relationship Id="rId1" Type="http://schemas.openxmlformats.org/officeDocument/2006/relationships/package" Target="../embeddings/Microsoft_Excel_Worksheet777.xlsx"/></Relationships>
</file>

<file path=ppt/charts/_rels/chart779.xml.rels><?xml version='1.0' encoding='UTF-8' standalone='yes'?>
<Relationships xmlns="http://schemas.openxmlformats.org/package/2006/relationships"><Relationship Id="rId1" Type="http://schemas.openxmlformats.org/officeDocument/2006/relationships/package" Target="../embeddings/Microsoft_Excel_Worksheet778.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80.xml.rels><?xml version='1.0' encoding='UTF-8' standalone='yes'?>
<Relationships xmlns="http://schemas.openxmlformats.org/package/2006/relationships"><Relationship Id="rId1" Type="http://schemas.openxmlformats.org/officeDocument/2006/relationships/package" Target="../embeddings/Microsoft_Excel_Worksheet779.xlsx"/></Relationships>
</file>

<file path=ppt/charts/_rels/chart781.xml.rels><?xml version='1.0' encoding='UTF-8' standalone='yes'?>
<Relationships xmlns="http://schemas.openxmlformats.org/package/2006/relationships"><Relationship Id="rId1" Type="http://schemas.openxmlformats.org/officeDocument/2006/relationships/package" Target="../embeddings/Microsoft_Excel_Worksheet780.xlsx"/></Relationships>
</file>

<file path=ppt/charts/_rels/chart782.xml.rels><?xml version='1.0' encoding='UTF-8' standalone='yes'?>
<Relationships xmlns="http://schemas.openxmlformats.org/package/2006/relationships"><Relationship Id="rId1" Type="http://schemas.openxmlformats.org/officeDocument/2006/relationships/package" Target="../embeddings/Microsoft_Excel_Worksheet781.xlsx"/></Relationships>
</file>

<file path=ppt/charts/_rels/chart783.xml.rels><?xml version='1.0' encoding='UTF-8' standalone='yes'?>
<Relationships xmlns="http://schemas.openxmlformats.org/package/2006/relationships"><Relationship Id="rId1" Type="http://schemas.openxmlformats.org/officeDocument/2006/relationships/package" Target="../embeddings/Microsoft_Excel_Worksheet782.xlsx"/></Relationships>
</file>

<file path=ppt/charts/_rels/chart784.xml.rels><?xml version='1.0' encoding='UTF-8' standalone='yes'?>
<Relationships xmlns="http://schemas.openxmlformats.org/package/2006/relationships"><Relationship Id="rId1" Type="http://schemas.openxmlformats.org/officeDocument/2006/relationships/package" Target="../embeddings/Microsoft_Excel_Worksheet783.xlsx"/></Relationships>
</file>

<file path=ppt/charts/_rels/chart785.xml.rels><?xml version='1.0' encoding='UTF-8' standalone='yes'?>
<Relationships xmlns="http://schemas.openxmlformats.org/package/2006/relationships"><Relationship Id="rId1" Type="http://schemas.openxmlformats.org/officeDocument/2006/relationships/package" Target="../embeddings/Microsoft_Excel_Worksheet784.xlsx"/></Relationships>
</file>

<file path=ppt/charts/_rels/chart786.xml.rels><?xml version='1.0' encoding='UTF-8' standalone='yes'?>
<Relationships xmlns="http://schemas.openxmlformats.org/package/2006/relationships"><Relationship Id="rId1" Type="http://schemas.openxmlformats.org/officeDocument/2006/relationships/package" Target="../embeddings/Microsoft_Excel_Worksheet785.xlsx"/></Relationships>
</file>

<file path=ppt/charts/_rels/chart787.xml.rels><?xml version='1.0' encoding='UTF-8' standalone='yes'?>
<Relationships xmlns="http://schemas.openxmlformats.org/package/2006/relationships"><Relationship Id="rId1" Type="http://schemas.openxmlformats.org/officeDocument/2006/relationships/package" Target="../embeddings/Microsoft_Excel_Worksheet786.xlsx"/></Relationships>
</file>

<file path=ppt/charts/_rels/chart788.xml.rels><?xml version='1.0' encoding='UTF-8' standalone='yes'?>
<Relationships xmlns="http://schemas.openxmlformats.org/package/2006/relationships"><Relationship Id="rId1" Type="http://schemas.openxmlformats.org/officeDocument/2006/relationships/package" Target="../embeddings/Microsoft_Excel_Worksheet787.xlsx"/></Relationships>
</file>

<file path=ppt/charts/_rels/chart789.xml.rels><?xml version='1.0' encoding='UTF-8' standalone='yes'?>
<Relationships xmlns="http://schemas.openxmlformats.org/package/2006/relationships"><Relationship Id="rId1" Type="http://schemas.openxmlformats.org/officeDocument/2006/relationships/package" Target="../embeddings/Microsoft_Excel_Worksheet78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790.xml.rels><?xml version='1.0' encoding='UTF-8' standalone='yes'?>
<Relationships xmlns="http://schemas.openxmlformats.org/package/2006/relationships"><Relationship Id="rId1" Type="http://schemas.openxmlformats.org/officeDocument/2006/relationships/package" Target="../embeddings/Microsoft_Excel_Worksheet789.xlsx"/></Relationships>
</file>

<file path=ppt/charts/_rels/chart791.xml.rels><?xml version='1.0' encoding='UTF-8' standalone='yes'?>
<Relationships xmlns="http://schemas.openxmlformats.org/package/2006/relationships"><Relationship Id="rId1" Type="http://schemas.openxmlformats.org/officeDocument/2006/relationships/package" Target="../embeddings/Microsoft_Excel_Worksheet790.xlsx"/></Relationships>
</file>

<file path=ppt/charts/_rels/chart792.xml.rels><?xml version='1.0' encoding='UTF-8' standalone='yes'?>
<Relationships xmlns="http://schemas.openxmlformats.org/package/2006/relationships"><Relationship Id="rId1" Type="http://schemas.openxmlformats.org/officeDocument/2006/relationships/package" Target="../embeddings/Microsoft_Excel_Worksheet791.xlsx"/></Relationships>
</file>

<file path=ppt/charts/_rels/chart793.xml.rels><?xml version='1.0' encoding='UTF-8' standalone='yes'?>
<Relationships xmlns="http://schemas.openxmlformats.org/package/2006/relationships"><Relationship Id="rId1" Type="http://schemas.openxmlformats.org/officeDocument/2006/relationships/package" Target="../embeddings/Microsoft_Excel_Worksheet792.xlsx"/></Relationships>
</file>

<file path=ppt/charts/_rels/chart794.xml.rels><?xml version='1.0' encoding='UTF-8' standalone='yes'?>
<Relationships xmlns="http://schemas.openxmlformats.org/package/2006/relationships"><Relationship Id="rId1" Type="http://schemas.openxmlformats.org/officeDocument/2006/relationships/package" Target="../embeddings/Microsoft_Excel_Worksheet793.xlsx"/></Relationships>
</file>

<file path=ppt/charts/_rels/chart795.xml.rels><?xml version='1.0' encoding='UTF-8' standalone='yes'?>
<Relationships xmlns="http://schemas.openxmlformats.org/package/2006/relationships"><Relationship Id="rId1" Type="http://schemas.openxmlformats.org/officeDocument/2006/relationships/package" Target="../embeddings/Microsoft_Excel_Worksheet794.xlsx"/></Relationships>
</file>

<file path=ppt/charts/_rels/chart796.xml.rels><?xml version='1.0' encoding='UTF-8' standalone='yes'?>
<Relationships xmlns="http://schemas.openxmlformats.org/package/2006/relationships"><Relationship Id="rId1" Type="http://schemas.openxmlformats.org/officeDocument/2006/relationships/package" Target="../embeddings/Microsoft_Excel_Worksheet795.xlsx"/></Relationships>
</file>

<file path=ppt/charts/_rels/chart797.xml.rels><?xml version='1.0' encoding='UTF-8' standalone='yes'?>
<Relationships xmlns="http://schemas.openxmlformats.org/package/2006/relationships"><Relationship Id="rId1" Type="http://schemas.openxmlformats.org/officeDocument/2006/relationships/package" Target="../embeddings/Microsoft_Excel_Worksheet796.xlsx"/></Relationships>
</file>

<file path=ppt/charts/_rels/chart798.xml.rels><?xml version='1.0' encoding='UTF-8' standalone='yes'?>
<Relationships xmlns="http://schemas.openxmlformats.org/package/2006/relationships"><Relationship Id="rId1" Type="http://schemas.openxmlformats.org/officeDocument/2006/relationships/package" Target="../embeddings/Microsoft_Excel_Worksheet797.xlsx"/></Relationships>
</file>

<file path=ppt/charts/_rels/chart799.xml.rels><?xml version='1.0' encoding='UTF-8' standalone='yes'?>
<Relationships xmlns="http://schemas.openxmlformats.org/package/2006/relationships"><Relationship Id="rId1" Type="http://schemas.openxmlformats.org/officeDocument/2006/relationships/package" Target="../embeddings/Microsoft_Excel_Worksheet79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00.xml.rels><?xml version='1.0' encoding='UTF-8' standalone='yes'?>
<Relationships xmlns="http://schemas.openxmlformats.org/package/2006/relationships"><Relationship Id="rId1" Type="http://schemas.openxmlformats.org/officeDocument/2006/relationships/package" Target="../embeddings/Microsoft_Excel_Worksheet799.xlsx"/></Relationships>
</file>

<file path=ppt/charts/_rels/chart801.xml.rels><?xml version='1.0' encoding='UTF-8' standalone='yes'?>
<Relationships xmlns="http://schemas.openxmlformats.org/package/2006/relationships"><Relationship Id="rId1" Type="http://schemas.openxmlformats.org/officeDocument/2006/relationships/package" Target="../embeddings/Microsoft_Excel_Worksheet800.xlsx"/></Relationships>
</file>

<file path=ppt/charts/_rels/chart802.xml.rels><?xml version='1.0' encoding='UTF-8' standalone='yes'?>
<Relationships xmlns="http://schemas.openxmlformats.org/package/2006/relationships"><Relationship Id="rId1" Type="http://schemas.openxmlformats.org/officeDocument/2006/relationships/package" Target="../embeddings/Microsoft_Excel_Worksheet801.xlsx"/></Relationships>
</file>

<file path=ppt/charts/_rels/chart803.xml.rels><?xml version='1.0' encoding='UTF-8' standalone='yes'?>
<Relationships xmlns="http://schemas.openxmlformats.org/package/2006/relationships"><Relationship Id="rId1" Type="http://schemas.openxmlformats.org/officeDocument/2006/relationships/package" Target="../embeddings/Microsoft_Excel_Worksheet802.xlsx"/></Relationships>
</file>

<file path=ppt/charts/_rels/chart804.xml.rels><?xml version='1.0' encoding='UTF-8' standalone='yes'?>
<Relationships xmlns="http://schemas.openxmlformats.org/package/2006/relationships"><Relationship Id="rId1" Type="http://schemas.openxmlformats.org/officeDocument/2006/relationships/package" Target="../embeddings/Microsoft_Excel_Worksheet803.xlsx"/></Relationships>
</file>

<file path=ppt/charts/_rels/chart805.xml.rels><?xml version='1.0' encoding='UTF-8' standalone='yes'?>
<Relationships xmlns="http://schemas.openxmlformats.org/package/2006/relationships"><Relationship Id="rId1" Type="http://schemas.openxmlformats.org/officeDocument/2006/relationships/package" Target="../embeddings/Microsoft_Excel_Worksheet804.xlsx"/></Relationships>
</file>

<file path=ppt/charts/_rels/chart806.xml.rels><?xml version='1.0' encoding='UTF-8' standalone='yes'?>
<Relationships xmlns="http://schemas.openxmlformats.org/package/2006/relationships"><Relationship Id="rId1" Type="http://schemas.openxmlformats.org/officeDocument/2006/relationships/package" Target="../embeddings/Microsoft_Excel_Worksheet805.xlsx"/></Relationships>
</file>

<file path=ppt/charts/_rels/chart807.xml.rels><?xml version='1.0' encoding='UTF-8' standalone='yes'?>
<Relationships xmlns="http://schemas.openxmlformats.org/package/2006/relationships"><Relationship Id="rId1" Type="http://schemas.openxmlformats.org/officeDocument/2006/relationships/package" Target="../embeddings/Microsoft_Excel_Worksheet806.xlsx"/></Relationships>
</file>

<file path=ppt/charts/_rels/chart808.xml.rels><?xml version='1.0' encoding='UTF-8' standalone='yes'?>
<Relationships xmlns="http://schemas.openxmlformats.org/package/2006/relationships"><Relationship Id="rId1" Type="http://schemas.openxmlformats.org/officeDocument/2006/relationships/package" Target="../embeddings/Microsoft_Excel_Worksheet807.xlsx"/></Relationships>
</file>

<file path=ppt/charts/_rels/chart809.xml.rels><?xml version='1.0' encoding='UTF-8' standalone='yes'?>
<Relationships xmlns="http://schemas.openxmlformats.org/package/2006/relationships"><Relationship Id="rId1" Type="http://schemas.openxmlformats.org/officeDocument/2006/relationships/package" Target="../embeddings/Microsoft_Excel_Worksheet808.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10.xml.rels><?xml version='1.0' encoding='UTF-8' standalone='yes'?>
<Relationships xmlns="http://schemas.openxmlformats.org/package/2006/relationships"><Relationship Id="rId1" Type="http://schemas.openxmlformats.org/officeDocument/2006/relationships/package" Target="../embeddings/Microsoft_Excel_Worksheet809.xlsx"/></Relationships>
</file>

<file path=ppt/charts/_rels/chart811.xml.rels><?xml version='1.0' encoding='UTF-8' standalone='yes'?>
<Relationships xmlns="http://schemas.openxmlformats.org/package/2006/relationships"><Relationship Id="rId1" Type="http://schemas.openxmlformats.org/officeDocument/2006/relationships/package" Target="../embeddings/Microsoft_Excel_Worksheet810.xlsx"/></Relationships>
</file>

<file path=ppt/charts/_rels/chart812.xml.rels><?xml version='1.0' encoding='UTF-8' standalone='yes'?>
<Relationships xmlns="http://schemas.openxmlformats.org/package/2006/relationships"><Relationship Id="rId1" Type="http://schemas.openxmlformats.org/officeDocument/2006/relationships/package" Target="../embeddings/Microsoft_Excel_Worksheet811.xlsx"/></Relationships>
</file>

<file path=ppt/charts/_rels/chart813.xml.rels><?xml version='1.0' encoding='UTF-8' standalone='yes'?>
<Relationships xmlns="http://schemas.openxmlformats.org/package/2006/relationships"><Relationship Id="rId1" Type="http://schemas.openxmlformats.org/officeDocument/2006/relationships/package" Target="../embeddings/Microsoft_Excel_Worksheet812.xlsx"/></Relationships>
</file>

<file path=ppt/charts/_rels/chart814.xml.rels><?xml version='1.0' encoding='UTF-8' standalone='yes'?>
<Relationships xmlns="http://schemas.openxmlformats.org/package/2006/relationships"><Relationship Id="rId1" Type="http://schemas.openxmlformats.org/officeDocument/2006/relationships/package" Target="../embeddings/Microsoft_Excel_Worksheet813.xlsx"/></Relationships>
</file>

<file path=ppt/charts/_rels/chart815.xml.rels><?xml version='1.0' encoding='UTF-8' standalone='yes'?>
<Relationships xmlns="http://schemas.openxmlformats.org/package/2006/relationships"><Relationship Id="rId1" Type="http://schemas.openxmlformats.org/officeDocument/2006/relationships/package" Target="../embeddings/Microsoft_Excel_Worksheet814.xlsx"/></Relationships>
</file>

<file path=ppt/charts/_rels/chart816.xml.rels><?xml version='1.0' encoding='UTF-8' standalone='yes'?>
<Relationships xmlns="http://schemas.openxmlformats.org/package/2006/relationships"><Relationship Id="rId1" Type="http://schemas.openxmlformats.org/officeDocument/2006/relationships/package" Target="../embeddings/Microsoft_Excel_Worksheet815.xlsx"/></Relationships>
</file>

<file path=ppt/charts/_rels/chart817.xml.rels><?xml version='1.0' encoding='UTF-8' standalone='yes'?>
<Relationships xmlns="http://schemas.openxmlformats.org/package/2006/relationships"><Relationship Id="rId1" Type="http://schemas.openxmlformats.org/officeDocument/2006/relationships/package" Target="../embeddings/Microsoft_Excel_Worksheet816.xlsx"/></Relationships>
</file>

<file path=ppt/charts/_rels/chart818.xml.rels><?xml version='1.0' encoding='UTF-8' standalone='yes'?>
<Relationships xmlns="http://schemas.openxmlformats.org/package/2006/relationships"><Relationship Id="rId1" Type="http://schemas.openxmlformats.org/officeDocument/2006/relationships/package" Target="../embeddings/Microsoft_Excel_Worksheet817.xlsx"/></Relationships>
</file>

<file path=ppt/charts/_rels/chart819.xml.rels><?xml version='1.0' encoding='UTF-8' standalone='yes'?>
<Relationships xmlns="http://schemas.openxmlformats.org/package/2006/relationships"><Relationship Id="rId1" Type="http://schemas.openxmlformats.org/officeDocument/2006/relationships/package" Target="../embeddings/Microsoft_Excel_Worksheet818.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20.xml.rels><?xml version='1.0' encoding='UTF-8' standalone='yes'?>
<Relationships xmlns="http://schemas.openxmlformats.org/package/2006/relationships"><Relationship Id="rId1" Type="http://schemas.openxmlformats.org/officeDocument/2006/relationships/package" Target="../embeddings/Microsoft_Excel_Worksheet819.xlsx"/></Relationships>
</file>

<file path=ppt/charts/_rels/chart821.xml.rels><?xml version='1.0' encoding='UTF-8' standalone='yes'?>
<Relationships xmlns="http://schemas.openxmlformats.org/package/2006/relationships"><Relationship Id="rId1" Type="http://schemas.openxmlformats.org/officeDocument/2006/relationships/package" Target="../embeddings/Microsoft_Excel_Worksheet820.xlsx"/></Relationships>
</file>

<file path=ppt/charts/_rels/chart822.xml.rels><?xml version='1.0' encoding='UTF-8' standalone='yes'?>
<Relationships xmlns="http://schemas.openxmlformats.org/package/2006/relationships"><Relationship Id="rId1" Type="http://schemas.openxmlformats.org/officeDocument/2006/relationships/package" Target="../embeddings/Microsoft_Excel_Worksheet821.xlsx"/></Relationships>
</file>

<file path=ppt/charts/_rels/chart823.xml.rels><?xml version='1.0' encoding='UTF-8' standalone='yes'?>
<Relationships xmlns="http://schemas.openxmlformats.org/package/2006/relationships"><Relationship Id="rId1" Type="http://schemas.openxmlformats.org/officeDocument/2006/relationships/package" Target="../embeddings/Microsoft_Excel_Worksheet822.xlsx"/></Relationships>
</file>

<file path=ppt/charts/_rels/chart824.xml.rels><?xml version='1.0' encoding='UTF-8' standalone='yes'?>
<Relationships xmlns="http://schemas.openxmlformats.org/package/2006/relationships"><Relationship Id="rId1" Type="http://schemas.openxmlformats.org/officeDocument/2006/relationships/package" Target="../embeddings/Microsoft_Excel_Worksheet823.xlsx"/></Relationships>
</file>

<file path=ppt/charts/_rels/chart825.xml.rels><?xml version='1.0' encoding='UTF-8' standalone='yes'?>
<Relationships xmlns="http://schemas.openxmlformats.org/package/2006/relationships"><Relationship Id="rId1" Type="http://schemas.openxmlformats.org/officeDocument/2006/relationships/package" Target="../embeddings/Microsoft_Excel_Worksheet824.xlsx"/></Relationships>
</file>

<file path=ppt/charts/_rels/chart826.xml.rels><?xml version='1.0' encoding='UTF-8' standalone='yes'?>
<Relationships xmlns="http://schemas.openxmlformats.org/package/2006/relationships"><Relationship Id="rId1" Type="http://schemas.openxmlformats.org/officeDocument/2006/relationships/package" Target="../embeddings/Microsoft_Excel_Worksheet825.xlsx"/></Relationships>
</file>

<file path=ppt/charts/_rels/chart827.xml.rels><?xml version='1.0' encoding='UTF-8' standalone='yes'?>
<Relationships xmlns="http://schemas.openxmlformats.org/package/2006/relationships"><Relationship Id="rId1" Type="http://schemas.openxmlformats.org/officeDocument/2006/relationships/package" Target="../embeddings/Microsoft_Excel_Worksheet826.xlsx"/></Relationships>
</file>

<file path=ppt/charts/_rels/chart828.xml.rels><?xml version='1.0' encoding='UTF-8' standalone='yes'?>
<Relationships xmlns="http://schemas.openxmlformats.org/package/2006/relationships"><Relationship Id="rId1" Type="http://schemas.openxmlformats.org/officeDocument/2006/relationships/package" Target="../embeddings/Microsoft_Excel_Worksheet827.xlsx"/></Relationships>
</file>

<file path=ppt/charts/_rels/chart829.xml.rels><?xml version='1.0' encoding='UTF-8' standalone='yes'?>
<Relationships xmlns="http://schemas.openxmlformats.org/package/2006/relationships"><Relationship Id="rId1" Type="http://schemas.openxmlformats.org/officeDocument/2006/relationships/package" Target="../embeddings/Microsoft_Excel_Worksheet828.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30.xml.rels><?xml version='1.0' encoding='UTF-8' standalone='yes'?>
<Relationships xmlns="http://schemas.openxmlformats.org/package/2006/relationships"><Relationship Id="rId1" Type="http://schemas.openxmlformats.org/officeDocument/2006/relationships/package" Target="../embeddings/Microsoft_Excel_Worksheet829.xlsx"/></Relationships>
</file>

<file path=ppt/charts/_rels/chart831.xml.rels><?xml version='1.0' encoding='UTF-8' standalone='yes'?>
<Relationships xmlns="http://schemas.openxmlformats.org/package/2006/relationships"><Relationship Id="rId1" Type="http://schemas.openxmlformats.org/officeDocument/2006/relationships/package" Target="../embeddings/Microsoft_Excel_Worksheet830.xlsx"/></Relationships>
</file>

<file path=ppt/charts/_rels/chart832.xml.rels><?xml version='1.0' encoding='UTF-8' standalone='yes'?>
<Relationships xmlns="http://schemas.openxmlformats.org/package/2006/relationships"><Relationship Id="rId1" Type="http://schemas.openxmlformats.org/officeDocument/2006/relationships/package" Target="../embeddings/Microsoft_Excel_Worksheet831.xlsx"/></Relationships>
</file>

<file path=ppt/charts/_rels/chart833.xml.rels><?xml version='1.0' encoding='UTF-8' standalone='yes'?>
<Relationships xmlns="http://schemas.openxmlformats.org/package/2006/relationships"><Relationship Id="rId1" Type="http://schemas.openxmlformats.org/officeDocument/2006/relationships/package" Target="../embeddings/Microsoft_Excel_Worksheet832.xlsx"/></Relationships>
</file>

<file path=ppt/charts/_rels/chart834.xml.rels><?xml version='1.0' encoding='UTF-8' standalone='yes'?>
<Relationships xmlns="http://schemas.openxmlformats.org/package/2006/relationships"><Relationship Id="rId1" Type="http://schemas.openxmlformats.org/officeDocument/2006/relationships/package" Target="../embeddings/Microsoft_Excel_Worksheet833.xlsx"/></Relationships>
</file>

<file path=ppt/charts/_rels/chart835.xml.rels><?xml version='1.0' encoding='UTF-8' standalone='yes'?>
<Relationships xmlns="http://schemas.openxmlformats.org/package/2006/relationships"><Relationship Id="rId1" Type="http://schemas.openxmlformats.org/officeDocument/2006/relationships/package" Target="../embeddings/Microsoft_Excel_Worksheet834.xlsx"/></Relationships>
</file>

<file path=ppt/charts/_rels/chart836.xml.rels><?xml version='1.0' encoding='UTF-8' standalone='yes'?>
<Relationships xmlns="http://schemas.openxmlformats.org/package/2006/relationships"><Relationship Id="rId1" Type="http://schemas.openxmlformats.org/officeDocument/2006/relationships/package" Target="../embeddings/Microsoft_Excel_Worksheet835.xlsx"/></Relationships>
</file>

<file path=ppt/charts/_rels/chart837.xml.rels><?xml version='1.0' encoding='UTF-8' standalone='yes'?>
<Relationships xmlns="http://schemas.openxmlformats.org/package/2006/relationships"><Relationship Id="rId1" Type="http://schemas.openxmlformats.org/officeDocument/2006/relationships/package" Target="../embeddings/Microsoft_Excel_Worksheet836.xlsx"/></Relationships>
</file>

<file path=ppt/charts/_rels/chart838.xml.rels><?xml version='1.0' encoding='UTF-8' standalone='yes'?>
<Relationships xmlns="http://schemas.openxmlformats.org/package/2006/relationships"><Relationship Id="rId1" Type="http://schemas.openxmlformats.org/officeDocument/2006/relationships/package" Target="../embeddings/Microsoft_Excel_Worksheet837.xlsx"/></Relationships>
</file>

<file path=ppt/charts/_rels/chart839.xml.rels><?xml version='1.0' encoding='UTF-8' standalone='yes'?>
<Relationships xmlns="http://schemas.openxmlformats.org/package/2006/relationships"><Relationship Id="rId1" Type="http://schemas.openxmlformats.org/officeDocument/2006/relationships/package" Target="../embeddings/Microsoft_Excel_Worksheet838.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40.xml.rels><?xml version='1.0' encoding='UTF-8' standalone='yes'?>
<Relationships xmlns="http://schemas.openxmlformats.org/package/2006/relationships"><Relationship Id="rId1" Type="http://schemas.openxmlformats.org/officeDocument/2006/relationships/package" Target="../embeddings/Microsoft_Excel_Worksheet839.xlsx"/></Relationships>
</file>

<file path=ppt/charts/_rels/chart841.xml.rels><?xml version='1.0' encoding='UTF-8' standalone='yes'?>
<Relationships xmlns="http://schemas.openxmlformats.org/package/2006/relationships"><Relationship Id="rId1" Type="http://schemas.openxmlformats.org/officeDocument/2006/relationships/package" Target="../embeddings/Microsoft_Excel_Worksheet840.xlsx"/></Relationships>
</file>

<file path=ppt/charts/_rels/chart842.xml.rels><?xml version='1.0' encoding='UTF-8' standalone='yes'?>
<Relationships xmlns="http://schemas.openxmlformats.org/package/2006/relationships"><Relationship Id="rId1" Type="http://schemas.openxmlformats.org/officeDocument/2006/relationships/package" Target="../embeddings/Microsoft_Excel_Worksheet841.xlsx"/></Relationships>
</file>

<file path=ppt/charts/_rels/chart843.xml.rels><?xml version='1.0' encoding='UTF-8' standalone='yes'?>
<Relationships xmlns="http://schemas.openxmlformats.org/package/2006/relationships"><Relationship Id="rId1" Type="http://schemas.openxmlformats.org/officeDocument/2006/relationships/package" Target="../embeddings/Microsoft_Excel_Worksheet842.xlsx"/></Relationships>
</file>

<file path=ppt/charts/_rels/chart844.xml.rels><?xml version='1.0' encoding='UTF-8' standalone='yes'?>
<Relationships xmlns="http://schemas.openxmlformats.org/package/2006/relationships"><Relationship Id="rId1" Type="http://schemas.openxmlformats.org/officeDocument/2006/relationships/package" Target="../embeddings/Microsoft_Excel_Worksheet843.xlsx"/></Relationships>
</file>

<file path=ppt/charts/_rels/chart845.xml.rels><?xml version='1.0' encoding='UTF-8' standalone='yes'?>
<Relationships xmlns="http://schemas.openxmlformats.org/package/2006/relationships"><Relationship Id="rId1" Type="http://schemas.openxmlformats.org/officeDocument/2006/relationships/package" Target="../embeddings/Microsoft_Excel_Worksheet844.xlsx"/></Relationships>
</file>

<file path=ppt/charts/_rels/chart846.xml.rels><?xml version='1.0' encoding='UTF-8' standalone='yes'?>
<Relationships xmlns="http://schemas.openxmlformats.org/package/2006/relationships"><Relationship Id="rId1" Type="http://schemas.openxmlformats.org/officeDocument/2006/relationships/package" Target="../embeddings/Microsoft_Excel_Worksheet845.xlsx"/></Relationships>
</file>

<file path=ppt/charts/_rels/chart847.xml.rels><?xml version='1.0' encoding='UTF-8' standalone='yes'?>
<Relationships xmlns="http://schemas.openxmlformats.org/package/2006/relationships"><Relationship Id="rId1" Type="http://schemas.openxmlformats.org/officeDocument/2006/relationships/package" Target="../embeddings/Microsoft_Excel_Worksheet846.xlsx"/></Relationships>
</file>

<file path=ppt/charts/_rels/chart848.xml.rels><?xml version='1.0' encoding='UTF-8' standalone='yes'?>
<Relationships xmlns="http://schemas.openxmlformats.org/package/2006/relationships"><Relationship Id="rId1" Type="http://schemas.openxmlformats.org/officeDocument/2006/relationships/package" Target="../embeddings/Microsoft_Excel_Worksheet847.xlsx"/></Relationships>
</file>

<file path=ppt/charts/_rels/chart849.xml.rels><?xml version='1.0' encoding='UTF-8' standalone='yes'?>
<Relationships xmlns="http://schemas.openxmlformats.org/package/2006/relationships"><Relationship Id="rId1" Type="http://schemas.openxmlformats.org/officeDocument/2006/relationships/package" Target="../embeddings/Microsoft_Excel_Worksheet848.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50.xml.rels><?xml version='1.0' encoding='UTF-8' standalone='yes'?>
<Relationships xmlns="http://schemas.openxmlformats.org/package/2006/relationships"><Relationship Id="rId1" Type="http://schemas.openxmlformats.org/officeDocument/2006/relationships/package" Target="../embeddings/Microsoft_Excel_Worksheet849.xlsx"/></Relationships>
</file>

<file path=ppt/charts/_rels/chart851.xml.rels><?xml version='1.0' encoding='UTF-8' standalone='yes'?>
<Relationships xmlns="http://schemas.openxmlformats.org/package/2006/relationships"><Relationship Id="rId1" Type="http://schemas.openxmlformats.org/officeDocument/2006/relationships/package" Target="../embeddings/Microsoft_Excel_Worksheet850.xlsx"/></Relationships>
</file>

<file path=ppt/charts/_rels/chart852.xml.rels><?xml version='1.0' encoding='UTF-8' standalone='yes'?>
<Relationships xmlns="http://schemas.openxmlformats.org/package/2006/relationships"><Relationship Id="rId1" Type="http://schemas.openxmlformats.org/officeDocument/2006/relationships/package" Target="../embeddings/Microsoft_Excel_Worksheet851.xlsx"/></Relationships>
</file>

<file path=ppt/charts/_rels/chart853.xml.rels><?xml version='1.0' encoding='UTF-8' standalone='yes'?>
<Relationships xmlns="http://schemas.openxmlformats.org/package/2006/relationships"><Relationship Id="rId1" Type="http://schemas.openxmlformats.org/officeDocument/2006/relationships/package" Target="../embeddings/Microsoft_Excel_Worksheet852.xlsx"/></Relationships>
</file>

<file path=ppt/charts/_rels/chart854.xml.rels><?xml version='1.0' encoding='UTF-8' standalone='yes'?>
<Relationships xmlns="http://schemas.openxmlformats.org/package/2006/relationships"><Relationship Id="rId1" Type="http://schemas.openxmlformats.org/officeDocument/2006/relationships/package" Target="../embeddings/Microsoft_Excel_Worksheet853.xlsx"/></Relationships>
</file>

<file path=ppt/charts/_rels/chart855.xml.rels><?xml version='1.0' encoding='UTF-8' standalone='yes'?>
<Relationships xmlns="http://schemas.openxmlformats.org/package/2006/relationships"><Relationship Id="rId1" Type="http://schemas.openxmlformats.org/officeDocument/2006/relationships/package" Target="../embeddings/Microsoft_Excel_Worksheet854.xlsx"/></Relationships>
</file>

<file path=ppt/charts/_rels/chart856.xml.rels><?xml version='1.0' encoding='UTF-8' standalone='yes'?>
<Relationships xmlns="http://schemas.openxmlformats.org/package/2006/relationships"><Relationship Id="rId1" Type="http://schemas.openxmlformats.org/officeDocument/2006/relationships/package" Target="../embeddings/Microsoft_Excel_Worksheet855.xlsx"/></Relationships>
</file>

<file path=ppt/charts/_rels/chart857.xml.rels><?xml version='1.0' encoding='UTF-8' standalone='yes'?>
<Relationships xmlns="http://schemas.openxmlformats.org/package/2006/relationships"><Relationship Id="rId1" Type="http://schemas.openxmlformats.org/officeDocument/2006/relationships/package" Target="../embeddings/Microsoft_Excel_Worksheet856.xlsx"/></Relationships>
</file>

<file path=ppt/charts/_rels/chart858.xml.rels><?xml version='1.0' encoding='UTF-8' standalone='yes'?>
<Relationships xmlns="http://schemas.openxmlformats.org/package/2006/relationships"><Relationship Id="rId1" Type="http://schemas.openxmlformats.org/officeDocument/2006/relationships/package" Target="../embeddings/Microsoft_Excel_Worksheet857.xlsx"/></Relationships>
</file>

<file path=ppt/charts/_rels/chart859.xml.rels><?xml version='1.0' encoding='UTF-8' standalone='yes'?>
<Relationships xmlns="http://schemas.openxmlformats.org/package/2006/relationships"><Relationship Id="rId1" Type="http://schemas.openxmlformats.org/officeDocument/2006/relationships/package" Target="../embeddings/Microsoft_Excel_Worksheet858.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60.xml.rels><?xml version='1.0' encoding='UTF-8' standalone='yes'?>
<Relationships xmlns="http://schemas.openxmlformats.org/package/2006/relationships"><Relationship Id="rId1" Type="http://schemas.openxmlformats.org/officeDocument/2006/relationships/package" Target="../embeddings/Microsoft_Excel_Worksheet859.xlsx"/></Relationships>
</file>

<file path=ppt/charts/_rels/chart861.xml.rels><?xml version='1.0' encoding='UTF-8' standalone='yes'?>
<Relationships xmlns="http://schemas.openxmlformats.org/package/2006/relationships"><Relationship Id="rId1" Type="http://schemas.openxmlformats.org/officeDocument/2006/relationships/package" Target="../embeddings/Microsoft_Excel_Worksheet860.xlsx"/></Relationships>
</file>

<file path=ppt/charts/_rels/chart862.xml.rels><?xml version='1.0' encoding='UTF-8' standalone='yes'?>
<Relationships xmlns="http://schemas.openxmlformats.org/package/2006/relationships"><Relationship Id="rId1" Type="http://schemas.openxmlformats.org/officeDocument/2006/relationships/package" Target="../embeddings/Microsoft_Excel_Worksheet861.xlsx"/></Relationships>
</file>

<file path=ppt/charts/_rels/chart863.xml.rels><?xml version='1.0' encoding='UTF-8' standalone='yes'?>
<Relationships xmlns="http://schemas.openxmlformats.org/package/2006/relationships"><Relationship Id="rId1" Type="http://schemas.openxmlformats.org/officeDocument/2006/relationships/package" Target="../embeddings/Microsoft_Excel_Worksheet862.xlsx"/></Relationships>
</file>

<file path=ppt/charts/_rels/chart864.xml.rels><?xml version='1.0' encoding='UTF-8' standalone='yes'?>
<Relationships xmlns="http://schemas.openxmlformats.org/package/2006/relationships"><Relationship Id="rId1" Type="http://schemas.openxmlformats.org/officeDocument/2006/relationships/package" Target="../embeddings/Microsoft_Excel_Worksheet863.xlsx"/></Relationships>
</file>

<file path=ppt/charts/_rels/chart865.xml.rels><?xml version='1.0' encoding='UTF-8' standalone='yes'?>
<Relationships xmlns="http://schemas.openxmlformats.org/package/2006/relationships"><Relationship Id="rId1" Type="http://schemas.openxmlformats.org/officeDocument/2006/relationships/package" Target="../embeddings/Microsoft_Excel_Worksheet864.xlsx"/></Relationships>
</file>

<file path=ppt/charts/_rels/chart866.xml.rels><?xml version='1.0' encoding='UTF-8' standalone='yes'?>
<Relationships xmlns="http://schemas.openxmlformats.org/package/2006/relationships"><Relationship Id="rId1" Type="http://schemas.openxmlformats.org/officeDocument/2006/relationships/package" Target="../embeddings/Microsoft_Excel_Worksheet865.xlsx"/></Relationships>
</file>

<file path=ppt/charts/_rels/chart867.xml.rels><?xml version='1.0' encoding='UTF-8' standalone='yes'?>
<Relationships xmlns="http://schemas.openxmlformats.org/package/2006/relationships"><Relationship Id="rId1" Type="http://schemas.openxmlformats.org/officeDocument/2006/relationships/package" Target="../embeddings/Microsoft_Excel_Worksheet866.xlsx"/></Relationships>
</file>

<file path=ppt/charts/_rels/chart868.xml.rels><?xml version='1.0' encoding='UTF-8' standalone='yes'?>
<Relationships xmlns="http://schemas.openxmlformats.org/package/2006/relationships"><Relationship Id="rId1" Type="http://schemas.openxmlformats.org/officeDocument/2006/relationships/package" Target="../embeddings/Microsoft_Excel_Worksheet867.xlsx"/></Relationships>
</file>

<file path=ppt/charts/_rels/chart869.xml.rels><?xml version='1.0' encoding='UTF-8' standalone='yes'?>
<Relationships xmlns="http://schemas.openxmlformats.org/package/2006/relationships"><Relationship Id="rId1" Type="http://schemas.openxmlformats.org/officeDocument/2006/relationships/package" Target="../embeddings/Microsoft_Excel_Worksheet868.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70.xml.rels><?xml version='1.0' encoding='UTF-8' standalone='yes'?>
<Relationships xmlns="http://schemas.openxmlformats.org/package/2006/relationships"><Relationship Id="rId1" Type="http://schemas.openxmlformats.org/officeDocument/2006/relationships/package" Target="../embeddings/Microsoft_Excel_Worksheet869.xlsx"/></Relationships>
</file>

<file path=ppt/charts/_rels/chart871.xml.rels><?xml version='1.0' encoding='UTF-8' standalone='yes'?>
<Relationships xmlns="http://schemas.openxmlformats.org/package/2006/relationships"><Relationship Id="rId1" Type="http://schemas.openxmlformats.org/officeDocument/2006/relationships/package" Target="../embeddings/Microsoft_Excel_Worksheet870.xlsx"/></Relationships>
</file>

<file path=ppt/charts/_rels/chart872.xml.rels><?xml version='1.0' encoding='UTF-8' standalone='yes'?>
<Relationships xmlns="http://schemas.openxmlformats.org/package/2006/relationships"><Relationship Id="rId1" Type="http://schemas.openxmlformats.org/officeDocument/2006/relationships/package" Target="../embeddings/Microsoft_Excel_Worksheet871.xlsx"/></Relationships>
</file>

<file path=ppt/charts/_rels/chart873.xml.rels><?xml version='1.0' encoding='UTF-8' standalone='yes'?>
<Relationships xmlns="http://schemas.openxmlformats.org/package/2006/relationships"><Relationship Id="rId1" Type="http://schemas.openxmlformats.org/officeDocument/2006/relationships/package" Target="../embeddings/Microsoft_Excel_Worksheet872.xlsx"/></Relationships>
</file>

<file path=ppt/charts/_rels/chart874.xml.rels><?xml version='1.0' encoding='UTF-8' standalone='yes'?>
<Relationships xmlns="http://schemas.openxmlformats.org/package/2006/relationships"><Relationship Id="rId1" Type="http://schemas.openxmlformats.org/officeDocument/2006/relationships/package" Target="../embeddings/Microsoft_Excel_Worksheet873.xlsx"/></Relationships>
</file>

<file path=ppt/charts/_rels/chart875.xml.rels><?xml version='1.0' encoding='UTF-8' standalone='yes'?>
<Relationships xmlns="http://schemas.openxmlformats.org/package/2006/relationships"><Relationship Id="rId1" Type="http://schemas.openxmlformats.org/officeDocument/2006/relationships/package" Target="../embeddings/Microsoft_Excel_Worksheet874.xlsx"/></Relationships>
</file>

<file path=ppt/charts/_rels/chart876.xml.rels><?xml version='1.0' encoding='UTF-8' standalone='yes'?>
<Relationships xmlns="http://schemas.openxmlformats.org/package/2006/relationships"><Relationship Id="rId1" Type="http://schemas.openxmlformats.org/officeDocument/2006/relationships/package" Target="../embeddings/Microsoft_Excel_Worksheet875.xlsx"/></Relationships>
</file>

<file path=ppt/charts/_rels/chart877.xml.rels><?xml version='1.0' encoding='UTF-8' standalone='yes'?>
<Relationships xmlns="http://schemas.openxmlformats.org/package/2006/relationships"><Relationship Id="rId1" Type="http://schemas.openxmlformats.org/officeDocument/2006/relationships/package" Target="../embeddings/Microsoft_Excel_Worksheet876.xlsx"/></Relationships>
</file>

<file path=ppt/charts/_rels/chart878.xml.rels><?xml version='1.0' encoding='UTF-8' standalone='yes'?>
<Relationships xmlns="http://schemas.openxmlformats.org/package/2006/relationships"><Relationship Id="rId1" Type="http://schemas.openxmlformats.org/officeDocument/2006/relationships/package" Target="../embeddings/Microsoft_Excel_Worksheet877.xlsx"/></Relationships>
</file>

<file path=ppt/charts/_rels/chart879.xml.rels><?xml version='1.0' encoding='UTF-8' standalone='yes'?>
<Relationships xmlns="http://schemas.openxmlformats.org/package/2006/relationships"><Relationship Id="rId1" Type="http://schemas.openxmlformats.org/officeDocument/2006/relationships/package" Target="../embeddings/Microsoft_Excel_Worksheet878.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80.xml.rels><?xml version='1.0' encoding='UTF-8' standalone='yes'?>
<Relationships xmlns="http://schemas.openxmlformats.org/package/2006/relationships"><Relationship Id="rId1" Type="http://schemas.openxmlformats.org/officeDocument/2006/relationships/package" Target="../embeddings/Microsoft_Excel_Worksheet879.xlsx"/></Relationships>
</file>

<file path=ppt/charts/_rels/chart881.xml.rels><?xml version='1.0' encoding='UTF-8' standalone='yes'?>
<Relationships xmlns="http://schemas.openxmlformats.org/package/2006/relationships"><Relationship Id="rId1" Type="http://schemas.openxmlformats.org/officeDocument/2006/relationships/package" Target="../embeddings/Microsoft_Excel_Worksheet880.xlsx"/></Relationships>
</file>

<file path=ppt/charts/_rels/chart882.xml.rels><?xml version='1.0' encoding='UTF-8' standalone='yes'?>
<Relationships xmlns="http://schemas.openxmlformats.org/package/2006/relationships"><Relationship Id="rId1" Type="http://schemas.openxmlformats.org/officeDocument/2006/relationships/package" Target="../embeddings/Microsoft_Excel_Worksheet881.xlsx"/></Relationships>
</file>

<file path=ppt/charts/_rels/chart883.xml.rels><?xml version='1.0' encoding='UTF-8' standalone='yes'?>
<Relationships xmlns="http://schemas.openxmlformats.org/package/2006/relationships"><Relationship Id="rId1" Type="http://schemas.openxmlformats.org/officeDocument/2006/relationships/package" Target="../embeddings/Microsoft_Excel_Worksheet882.xlsx"/></Relationships>
</file>

<file path=ppt/charts/_rels/chart884.xml.rels><?xml version='1.0' encoding='UTF-8' standalone='yes'?>
<Relationships xmlns="http://schemas.openxmlformats.org/package/2006/relationships"><Relationship Id="rId1" Type="http://schemas.openxmlformats.org/officeDocument/2006/relationships/package" Target="../embeddings/Microsoft_Excel_Worksheet883.xlsx"/></Relationships>
</file>

<file path=ppt/charts/_rels/chart885.xml.rels><?xml version='1.0' encoding='UTF-8' standalone='yes'?>
<Relationships xmlns="http://schemas.openxmlformats.org/package/2006/relationships"><Relationship Id="rId1" Type="http://schemas.openxmlformats.org/officeDocument/2006/relationships/package" Target="../embeddings/Microsoft_Excel_Worksheet884.xlsx"/></Relationships>
</file>

<file path=ppt/charts/_rels/chart886.xml.rels><?xml version='1.0' encoding='UTF-8' standalone='yes'?>
<Relationships xmlns="http://schemas.openxmlformats.org/package/2006/relationships"><Relationship Id="rId1" Type="http://schemas.openxmlformats.org/officeDocument/2006/relationships/package" Target="../embeddings/Microsoft_Excel_Worksheet885.xlsx"/></Relationships>
</file>

<file path=ppt/charts/_rels/chart887.xml.rels><?xml version='1.0' encoding='UTF-8' standalone='yes'?>
<Relationships xmlns="http://schemas.openxmlformats.org/package/2006/relationships"><Relationship Id="rId1" Type="http://schemas.openxmlformats.org/officeDocument/2006/relationships/package" Target="../embeddings/Microsoft_Excel_Worksheet886.xlsx"/></Relationships>
</file>

<file path=ppt/charts/_rels/chart888.xml.rels><?xml version='1.0' encoding='UTF-8' standalone='yes'?>
<Relationships xmlns="http://schemas.openxmlformats.org/package/2006/relationships"><Relationship Id="rId1" Type="http://schemas.openxmlformats.org/officeDocument/2006/relationships/package" Target="../embeddings/Microsoft_Excel_Worksheet887.xlsx"/></Relationships>
</file>

<file path=ppt/charts/_rels/chart889.xml.rels><?xml version='1.0' encoding='UTF-8' standalone='yes'?>
<Relationships xmlns="http://schemas.openxmlformats.org/package/2006/relationships"><Relationship Id="rId1" Type="http://schemas.openxmlformats.org/officeDocument/2006/relationships/package" Target="../embeddings/Microsoft_Excel_Worksheet8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890.xml.rels><?xml version='1.0' encoding='UTF-8' standalone='yes'?>
<Relationships xmlns="http://schemas.openxmlformats.org/package/2006/relationships"><Relationship Id="rId1" Type="http://schemas.openxmlformats.org/officeDocument/2006/relationships/package" Target="../embeddings/Microsoft_Excel_Worksheet889.xlsx"/></Relationships>
</file>

<file path=ppt/charts/_rels/chart891.xml.rels><?xml version='1.0' encoding='UTF-8' standalone='yes'?>
<Relationships xmlns="http://schemas.openxmlformats.org/package/2006/relationships"><Relationship Id="rId1" Type="http://schemas.openxmlformats.org/officeDocument/2006/relationships/package" Target="../embeddings/Microsoft_Excel_Worksheet890.xlsx"/></Relationships>
</file>

<file path=ppt/charts/_rels/chart892.xml.rels><?xml version='1.0' encoding='UTF-8' standalone='yes'?>
<Relationships xmlns="http://schemas.openxmlformats.org/package/2006/relationships"><Relationship Id="rId1" Type="http://schemas.openxmlformats.org/officeDocument/2006/relationships/package" Target="../embeddings/Microsoft_Excel_Worksheet891.xlsx"/></Relationships>
</file>

<file path=ppt/charts/_rels/chart893.xml.rels><?xml version='1.0' encoding='UTF-8' standalone='yes'?>
<Relationships xmlns="http://schemas.openxmlformats.org/package/2006/relationships"><Relationship Id="rId1" Type="http://schemas.openxmlformats.org/officeDocument/2006/relationships/package" Target="../embeddings/Microsoft_Excel_Worksheet892.xlsx"/></Relationships>
</file>

<file path=ppt/charts/_rels/chart894.xml.rels><?xml version='1.0' encoding='UTF-8' standalone='yes'?>
<Relationships xmlns="http://schemas.openxmlformats.org/package/2006/relationships"><Relationship Id="rId1" Type="http://schemas.openxmlformats.org/officeDocument/2006/relationships/package" Target="../embeddings/Microsoft_Excel_Worksheet893.xlsx"/></Relationships>
</file>

<file path=ppt/charts/_rels/chart895.xml.rels><?xml version='1.0' encoding='UTF-8' standalone='yes'?>
<Relationships xmlns="http://schemas.openxmlformats.org/package/2006/relationships"><Relationship Id="rId1" Type="http://schemas.openxmlformats.org/officeDocument/2006/relationships/package" Target="../embeddings/Microsoft_Excel_Worksheet894.xlsx"/></Relationships>
</file>

<file path=ppt/charts/_rels/chart896.xml.rels><?xml version='1.0' encoding='UTF-8' standalone='yes'?>
<Relationships xmlns="http://schemas.openxmlformats.org/package/2006/relationships"><Relationship Id="rId1" Type="http://schemas.openxmlformats.org/officeDocument/2006/relationships/package" Target="../embeddings/Microsoft_Excel_Worksheet895.xlsx"/></Relationships>
</file>

<file path=ppt/charts/_rels/chart897.xml.rels><?xml version='1.0' encoding='UTF-8' standalone='yes'?>
<Relationships xmlns="http://schemas.openxmlformats.org/package/2006/relationships"><Relationship Id="rId1" Type="http://schemas.openxmlformats.org/officeDocument/2006/relationships/package" Target="../embeddings/Microsoft_Excel_Worksheet896.xlsx"/></Relationships>
</file>

<file path=ppt/charts/_rels/chart898.xml.rels><?xml version='1.0' encoding='UTF-8' standalone='yes'?>
<Relationships xmlns="http://schemas.openxmlformats.org/package/2006/relationships"><Relationship Id="rId1" Type="http://schemas.openxmlformats.org/officeDocument/2006/relationships/package" Target="../embeddings/Microsoft_Excel_Worksheet897.xlsx"/></Relationships>
</file>

<file path=ppt/charts/_rels/chart899.xml.rels><?xml version='1.0' encoding='UTF-8' standalone='yes'?>
<Relationships xmlns="http://schemas.openxmlformats.org/package/2006/relationships"><Relationship Id="rId1" Type="http://schemas.openxmlformats.org/officeDocument/2006/relationships/package" Target="../embeddings/Microsoft_Excel_Worksheet89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00.xml.rels><?xml version='1.0' encoding='UTF-8' standalone='yes'?>
<Relationships xmlns="http://schemas.openxmlformats.org/package/2006/relationships"><Relationship Id="rId1" Type="http://schemas.openxmlformats.org/officeDocument/2006/relationships/package" Target="../embeddings/Microsoft_Excel_Worksheet899.xlsx"/></Relationships>
</file>

<file path=ppt/charts/_rels/chart901.xml.rels><?xml version='1.0' encoding='UTF-8' standalone='yes'?>
<Relationships xmlns="http://schemas.openxmlformats.org/package/2006/relationships"><Relationship Id="rId1" Type="http://schemas.openxmlformats.org/officeDocument/2006/relationships/package" Target="../embeddings/Microsoft_Excel_Worksheet900.xlsx"/></Relationships>
</file>

<file path=ppt/charts/_rels/chart902.xml.rels><?xml version='1.0' encoding='UTF-8' standalone='yes'?>
<Relationships xmlns="http://schemas.openxmlformats.org/package/2006/relationships"><Relationship Id="rId1" Type="http://schemas.openxmlformats.org/officeDocument/2006/relationships/package" Target="../embeddings/Microsoft_Excel_Worksheet901.xlsx"/></Relationships>
</file>

<file path=ppt/charts/_rels/chart903.xml.rels><?xml version='1.0' encoding='UTF-8' standalone='yes'?>
<Relationships xmlns="http://schemas.openxmlformats.org/package/2006/relationships"><Relationship Id="rId1" Type="http://schemas.openxmlformats.org/officeDocument/2006/relationships/package" Target="../embeddings/Microsoft_Excel_Worksheet902.xlsx"/></Relationships>
</file>

<file path=ppt/charts/_rels/chart904.xml.rels><?xml version='1.0' encoding='UTF-8' standalone='yes'?>
<Relationships xmlns="http://schemas.openxmlformats.org/package/2006/relationships"><Relationship Id="rId1" Type="http://schemas.openxmlformats.org/officeDocument/2006/relationships/package" Target="../embeddings/Microsoft_Excel_Worksheet903.xlsx"/></Relationships>
</file>

<file path=ppt/charts/_rels/chart905.xml.rels><?xml version='1.0' encoding='UTF-8' standalone='yes'?>
<Relationships xmlns="http://schemas.openxmlformats.org/package/2006/relationships"><Relationship Id="rId1" Type="http://schemas.openxmlformats.org/officeDocument/2006/relationships/package" Target="../embeddings/Microsoft_Excel_Worksheet904.xlsx"/></Relationships>
</file>

<file path=ppt/charts/_rels/chart906.xml.rels><?xml version='1.0' encoding='UTF-8' standalone='yes'?>
<Relationships xmlns="http://schemas.openxmlformats.org/package/2006/relationships"><Relationship Id="rId1" Type="http://schemas.openxmlformats.org/officeDocument/2006/relationships/package" Target="../embeddings/Microsoft_Excel_Worksheet905.xlsx"/></Relationships>
</file>

<file path=ppt/charts/_rels/chart907.xml.rels><?xml version='1.0' encoding='UTF-8' standalone='yes'?>
<Relationships xmlns="http://schemas.openxmlformats.org/package/2006/relationships"><Relationship Id="rId1" Type="http://schemas.openxmlformats.org/officeDocument/2006/relationships/package" Target="../embeddings/Microsoft_Excel_Worksheet906.xlsx"/></Relationships>
</file>

<file path=ppt/charts/_rels/chart908.xml.rels><?xml version='1.0' encoding='UTF-8' standalone='yes'?>
<Relationships xmlns="http://schemas.openxmlformats.org/package/2006/relationships"><Relationship Id="rId1" Type="http://schemas.openxmlformats.org/officeDocument/2006/relationships/package" Target="../embeddings/Microsoft_Excel_Worksheet907.xlsx"/></Relationships>
</file>

<file path=ppt/charts/_rels/chart909.xml.rels><?xml version='1.0' encoding='UTF-8' standalone='yes'?>
<Relationships xmlns="http://schemas.openxmlformats.org/package/2006/relationships"><Relationship Id="rId1" Type="http://schemas.openxmlformats.org/officeDocument/2006/relationships/package" Target="../embeddings/Microsoft_Excel_Worksheet908.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10.xml.rels><?xml version='1.0' encoding='UTF-8' standalone='yes'?>
<Relationships xmlns="http://schemas.openxmlformats.org/package/2006/relationships"><Relationship Id="rId1" Type="http://schemas.openxmlformats.org/officeDocument/2006/relationships/package" Target="../embeddings/Microsoft_Excel_Worksheet909.xlsx"/></Relationships>
</file>

<file path=ppt/charts/_rels/chart911.xml.rels><?xml version='1.0' encoding='UTF-8' standalone='yes'?>
<Relationships xmlns="http://schemas.openxmlformats.org/package/2006/relationships"><Relationship Id="rId1" Type="http://schemas.openxmlformats.org/officeDocument/2006/relationships/package" Target="../embeddings/Microsoft_Excel_Worksheet910.xlsx"/></Relationships>
</file>

<file path=ppt/charts/_rels/chart912.xml.rels><?xml version='1.0' encoding='UTF-8' standalone='yes'?>
<Relationships xmlns="http://schemas.openxmlformats.org/package/2006/relationships"><Relationship Id="rId1" Type="http://schemas.openxmlformats.org/officeDocument/2006/relationships/package" Target="../embeddings/Microsoft_Excel_Worksheet911.xlsx"/></Relationships>
</file>

<file path=ppt/charts/_rels/chart913.xml.rels><?xml version='1.0' encoding='UTF-8' standalone='yes'?>
<Relationships xmlns="http://schemas.openxmlformats.org/package/2006/relationships"><Relationship Id="rId1" Type="http://schemas.openxmlformats.org/officeDocument/2006/relationships/package" Target="../embeddings/Microsoft_Excel_Worksheet912.xlsx"/></Relationships>
</file>

<file path=ppt/charts/_rels/chart914.xml.rels><?xml version='1.0' encoding='UTF-8' standalone='yes'?>
<Relationships xmlns="http://schemas.openxmlformats.org/package/2006/relationships"><Relationship Id="rId1" Type="http://schemas.openxmlformats.org/officeDocument/2006/relationships/package" Target="../embeddings/Microsoft_Excel_Worksheet913.xlsx"/></Relationships>
</file>

<file path=ppt/charts/_rels/chart915.xml.rels><?xml version='1.0' encoding='UTF-8' standalone='yes'?>
<Relationships xmlns="http://schemas.openxmlformats.org/package/2006/relationships"><Relationship Id="rId1" Type="http://schemas.openxmlformats.org/officeDocument/2006/relationships/package" Target="../embeddings/Microsoft_Excel_Worksheet914.xlsx"/></Relationships>
</file>

<file path=ppt/charts/_rels/chart916.xml.rels><?xml version='1.0' encoding='UTF-8' standalone='yes'?>
<Relationships xmlns="http://schemas.openxmlformats.org/package/2006/relationships"><Relationship Id="rId1" Type="http://schemas.openxmlformats.org/officeDocument/2006/relationships/package" Target="../embeddings/Microsoft_Excel_Worksheet915.xlsx"/></Relationships>
</file>

<file path=ppt/charts/_rels/chart917.xml.rels><?xml version='1.0' encoding='UTF-8' standalone='yes'?>
<Relationships xmlns="http://schemas.openxmlformats.org/package/2006/relationships"><Relationship Id="rId1" Type="http://schemas.openxmlformats.org/officeDocument/2006/relationships/package" Target="../embeddings/Microsoft_Excel_Worksheet916.xlsx"/></Relationships>
</file>

<file path=ppt/charts/_rels/chart918.xml.rels><?xml version='1.0' encoding='UTF-8' standalone='yes'?>
<Relationships xmlns="http://schemas.openxmlformats.org/package/2006/relationships"><Relationship Id="rId1" Type="http://schemas.openxmlformats.org/officeDocument/2006/relationships/package" Target="../embeddings/Microsoft_Excel_Worksheet917.xlsx"/></Relationships>
</file>

<file path=ppt/charts/_rels/chart919.xml.rels><?xml version='1.0' encoding='UTF-8' standalone='yes'?>
<Relationships xmlns="http://schemas.openxmlformats.org/package/2006/relationships"><Relationship Id="rId1" Type="http://schemas.openxmlformats.org/officeDocument/2006/relationships/package" Target="../embeddings/Microsoft_Excel_Worksheet918.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20.xml.rels><?xml version='1.0' encoding='UTF-8' standalone='yes'?>
<Relationships xmlns="http://schemas.openxmlformats.org/package/2006/relationships"><Relationship Id="rId1" Type="http://schemas.openxmlformats.org/officeDocument/2006/relationships/package" Target="../embeddings/Microsoft_Excel_Worksheet919.xlsx"/></Relationships>
</file>

<file path=ppt/charts/_rels/chart921.xml.rels><?xml version='1.0' encoding='UTF-8' standalone='yes'?>
<Relationships xmlns="http://schemas.openxmlformats.org/package/2006/relationships"><Relationship Id="rId1" Type="http://schemas.openxmlformats.org/officeDocument/2006/relationships/package" Target="../embeddings/Microsoft_Excel_Worksheet920.xlsx"/></Relationships>
</file>

<file path=ppt/charts/_rels/chart922.xml.rels><?xml version='1.0' encoding='UTF-8' standalone='yes'?>
<Relationships xmlns="http://schemas.openxmlformats.org/package/2006/relationships"><Relationship Id="rId1" Type="http://schemas.openxmlformats.org/officeDocument/2006/relationships/package" Target="../embeddings/Microsoft_Excel_Worksheet921.xlsx"/></Relationships>
</file>

<file path=ppt/charts/_rels/chart923.xml.rels><?xml version='1.0' encoding='UTF-8' standalone='yes'?>
<Relationships xmlns="http://schemas.openxmlformats.org/package/2006/relationships"><Relationship Id="rId1" Type="http://schemas.openxmlformats.org/officeDocument/2006/relationships/package" Target="../embeddings/Microsoft_Excel_Worksheet922.xlsx"/></Relationships>
</file>

<file path=ppt/charts/_rels/chart924.xml.rels><?xml version='1.0' encoding='UTF-8' standalone='yes'?>
<Relationships xmlns="http://schemas.openxmlformats.org/package/2006/relationships"><Relationship Id="rId1" Type="http://schemas.openxmlformats.org/officeDocument/2006/relationships/package" Target="../embeddings/Microsoft_Excel_Worksheet923.xlsx"/></Relationships>
</file>

<file path=ppt/charts/_rels/chart925.xml.rels><?xml version='1.0' encoding='UTF-8' standalone='yes'?>
<Relationships xmlns="http://schemas.openxmlformats.org/package/2006/relationships"><Relationship Id="rId1" Type="http://schemas.openxmlformats.org/officeDocument/2006/relationships/package" Target="../embeddings/Microsoft_Excel_Worksheet924.xlsx"/></Relationships>
</file>

<file path=ppt/charts/_rels/chart926.xml.rels><?xml version='1.0' encoding='UTF-8' standalone='yes'?>
<Relationships xmlns="http://schemas.openxmlformats.org/package/2006/relationships"><Relationship Id="rId1" Type="http://schemas.openxmlformats.org/officeDocument/2006/relationships/package" Target="../embeddings/Microsoft_Excel_Worksheet925.xlsx"/></Relationships>
</file>

<file path=ppt/charts/_rels/chart927.xml.rels><?xml version='1.0' encoding='UTF-8' standalone='yes'?>
<Relationships xmlns="http://schemas.openxmlformats.org/package/2006/relationships"><Relationship Id="rId1" Type="http://schemas.openxmlformats.org/officeDocument/2006/relationships/package" Target="../embeddings/Microsoft_Excel_Worksheet926.xlsx"/></Relationships>
</file>

<file path=ppt/charts/_rels/chart928.xml.rels><?xml version='1.0' encoding='UTF-8' standalone='yes'?>
<Relationships xmlns="http://schemas.openxmlformats.org/package/2006/relationships"><Relationship Id="rId1" Type="http://schemas.openxmlformats.org/officeDocument/2006/relationships/package" Target="../embeddings/Microsoft_Excel_Worksheet927.xlsx"/></Relationships>
</file>

<file path=ppt/charts/_rels/chart929.xml.rels><?xml version='1.0' encoding='UTF-8' standalone='yes'?>
<Relationships xmlns="http://schemas.openxmlformats.org/package/2006/relationships"><Relationship Id="rId1" Type="http://schemas.openxmlformats.org/officeDocument/2006/relationships/package" Target="../embeddings/Microsoft_Excel_Worksheet928.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30.xml.rels><?xml version='1.0' encoding='UTF-8' standalone='yes'?>
<Relationships xmlns="http://schemas.openxmlformats.org/package/2006/relationships"><Relationship Id="rId1" Type="http://schemas.openxmlformats.org/officeDocument/2006/relationships/package" Target="../embeddings/Microsoft_Excel_Worksheet929.xlsx"/></Relationships>
</file>

<file path=ppt/charts/_rels/chart931.xml.rels><?xml version='1.0' encoding='UTF-8' standalone='yes'?>
<Relationships xmlns="http://schemas.openxmlformats.org/package/2006/relationships"><Relationship Id="rId1" Type="http://schemas.openxmlformats.org/officeDocument/2006/relationships/package" Target="../embeddings/Microsoft_Excel_Worksheet930.xlsx"/></Relationships>
</file>

<file path=ppt/charts/_rels/chart932.xml.rels><?xml version='1.0' encoding='UTF-8' standalone='yes'?>
<Relationships xmlns="http://schemas.openxmlformats.org/package/2006/relationships"><Relationship Id="rId1" Type="http://schemas.openxmlformats.org/officeDocument/2006/relationships/package" Target="../embeddings/Microsoft_Excel_Worksheet931.xlsx"/></Relationships>
</file>

<file path=ppt/charts/_rels/chart933.xml.rels><?xml version='1.0' encoding='UTF-8' standalone='yes'?>
<Relationships xmlns="http://schemas.openxmlformats.org/package/2006/relationships"><Relationship Id="rId1" Type="http://schemas.openxmlformats.org/officeDocument/2006/relationships/package" Target="../embeddings/Microsoft_Excel_Worksheet932.xlsx"/></Relationships>
</file>

<file path=ppt/charts/_rels/chart934.xml.rels><?xml version='1.0' encoding='UTF-8' standalone='yes'?>
<Relationships xmlns="http://schemas.openxmlformats.org/package/2006/relationships"><Relationship Id="rId1" Type="http://schemas.openxmlformats.org/officeDocument/2006/relationships/package" Target="../embeddings/Microsoft_Excel_Worksheet933.xlsx"/></Relationships>
</file>

<file path=ppt/charts/_rels/chart935.xml.rels><?xml version='1.0' encoding='UTF-8' standalone='yes'?>
<Relationships xmlns="http://schemas.openxmlformats.org/package/2006/relationships"><Relationship Id="rId1" Type="http://schemas.openxmlformats.org/officeDocument/2006/relationships/package" Target="../embeddings/Microsoft_Excel_Worksheet934.xlsx"/></Relationships>
</file>

<file path=ppt/charts/_rels/chart936.xml.rels><?xml version='1.0' encoding='UTF-8' standalone='yes'?>
<Relationships xmlns="http://schemas.openxmlformats.org/package/2006/relationships"><Relationship Id="rId1" Type="http://schemas.openxmlformats.org/officeDocument/2006/relationships/package" Target="../embeddings/Microsoft_Excel_Worksheet935.xlsx"/></Relationships>
</file>

<file path=ppt/charts/_rels/chart937.xml.rels><?xml version='1.0' encoding='UTF-8' standalone='yes'?>
<Relationships xmlns="http://schemas.openxmlformats.org/package/2006/relationships"><Relationship Id="rId1" Type="http://schemas.openxmlformats.org/officeDocument/2006/relationships/package" Target="../embeddings/Microsoft_Excel_Worksheet936.xlsx"/></Relationships>
</file>

<file path=ppt/charts/_rels/chart938.xml.rels><?xml version='1.0' encoding='UTF-8' standalone='yes'?>
<Relationships xmlns="http://schemas.openxmlformats.org/package/2006/relationships"><Relationship Id="rId1" Type="http://schemas.openxmlformats.org/officeDocument/2006/relationships/package" Target="../embeddings/Microsoft_Excel_Worksheet937.xlsx"/></Relationships>
</file>

<file path=ppt/charts/_rels/chart939.xml.rels><?xml version='1.0' encoding='UTF-8' standalone='yes'?>
<Relationships xmlns="http://schemas.openxmlformats.org/package/2006/relationships"><Relationship Id="rId1" Type="http://schemas.openxmlformats.org/officeDocument/2006/relationships/package" Target="../embeddings/Microsoft_Excel_Worksheet938.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40.xml.rels><?xml version='1.0' encoding='UTF-8' standalone='yes'?>
<Relationships xmlns="http://schemas.openxmlformats.org/package/2006/relationships"><Relationship Id="rId1" Type="http://schemas.openxmlformats.org/officeDocument/2006/relationships/package" Target="../embeddings/Microsoft_Excel_Worksheet939.xlsx"/></Relationships>
</file>

<file path=ppt/charts/_rels/chart941.xml.rels><?xml version='1.0' encoding='UTF-8' standalone='yes'?>
<Relationships xmlns="http://schemas.openxmlformats.org/package/2006/relationships"><Relationship Id="rId1" Type="http://schemas.openxmlformats.org/officeDocument/2006/relationships/package" Target="../embeddings/Microsoft_Excel_Worksheet940.xlsx"/></Relationships>
</file>

<file path=ppt/charts/_rels/chart942.xml.rels><?xml version='1.0' encoding='UTF-8' standalone='yes'?>
<Relationships xmlns="http://schemas.openxmlformats.org/package/2006/relationships"><Relationship Id="rId1" Type="http://schemas.openxmlformats.org/officeDocument/2006/relationships/package" Target="../embeddings/Microsoft_Excel_Worksheet941.xlsx"/></Relationships>
</file>

<file path=ppt/charts/_rels/chart943.xml.rels><?xml version='1.0' encoding='UTF-8' standalone='yes'?>
<Relationships xmlns="http://schemas.openxmlformats.org/package/2006/relationships"><Relationship Id="rId1" Type="http://schemas.openxmlformats.org/officeDocument/2006/relationships/package" Target="../embeddings/Microsoft_Excel_Worksheet942.xlsx"/></Relationships>
</file>

<file path=ppt/charts/_rels/chart944.xml.rels><?xml version='1.0' encoding='UTF-8' standalone='yes'?>
<Relationships xmlns="http://schemas.openxmlformats.org/package/2006/relationships"><Relationship Id="rId1" Type="http://schemas.openxmlformats.org/officeDocument/2006/relationships/package" Target="../embeddings/Microsoft_Excel_Worksheet943.xlsx"/></Relationships>
</file>

<file path=ppt/charts/_rels/chart945.xml.rels><?xml version='1.0' encoding='UTF-8' standalone='yes'?>
<Relationships xmlns="http://schemas.openxmlformats.org/package/2006/relationships"><Relationship Id="rId1" Type="http://schemas.openxmlformats.org/officeDocument/2006/relationships/package" Target="../embeddings/Microsoft_Excel_Worksheet944.xlsx"/></Relationships>
</file>

<file path=ppt/charts/_rels/chart946.xml.rels><?xml version='1.0' encoding='UTF-8' standalone='yes'?>
<Relationships xmlns="http://schemas.openxmlformats.org/package/2006/relationships"><Relationship Id="rId1" Type="http://schemas.openxmlformats.org/officeDocument/2006/relationships/package" Target="../embeddings/Microsoft_Excel_Worksheet945.xlsx"/></Relationships>
</file>

<file path=ppt/charts/_rels/chart947.xml.rels><?xml version='1.0' encoding='UTF-8' standalone='yes'?>
<Relationships xmlns="http://schemas.openxmlformats.org/package/2006/relationships"><Relationship Id="rId1" Type="http://schemas.openxmlformats.org/officeDocument/2006/relationships/package" Target="../embeddings/Microsoft_Excel_Worksheet946.xlsx"/></Relationships>
</file>

<file path=ppt/charts/_rels/chart948.xml.rels><?xml version='1.0' encoding='UTF-8' standalone='yes'?>
<Relationships xmlns="http://schemas.openxmlformats.org/package/2006/relationships"><Relationship Id="rId1" Type="http://schemas.openxmlformats.org/officeDocument/2006/relationships/package" Target="../embeddings/Microsoft_Excel_Worksheet947.xlsx"/></Relationships>
</file>

<file path=ppt/charts/_rels/chart949.xml.rels><?xml version='1.0' encoding='UTF-8' standalone='yes'?>
<Relationships xmlns="http://schemas.openxmlformats.org/package/2006/relationships"><Relationship Id="rId1" Type="http://schemas.openxmlformats.org/officeDocument/2006/relationships/package" Target="../embeddings/Microsoft_Excel_Worksheet948.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50.xml.rels><?xml version='1.0' encoding='UTF-8' standalone='yes'?>
<Relationships xmlns="http://schemas.openxmlformats.org/package/2006/relationships"><Relationship Id="rId1" Type="http://schemas.openxmlformats.org/officeDocument/2006/relationships/package" Target="../embeddings/Microsoft_Excel_Worksheet949.xlsx"/></Relationships>
</file>

<file path=ppt/charts/_rels/chart951.xml.rels><?xml version='1.0' encoding='UTF-8' standalone='yes'?>
<Relationships xmlns="http://schemas.openxmlformats.org/package/2006/relationships"><Relationship Id="rId1" Type="http://schemas.openxmlformats.org/officeDocument/2006/relationships/package" Target="../embeddings/Microsoft_Excel_Worksheet950.xlsx"/></Relationships>
</file>

<file path=ppt/charts/_rels/chart952.xml.rels><?xml version='1.0' encoding='UTF-8' standalone='yes'?>
<Relationships xmlns="http://schemas.openxmlformats.org/package/2006/relationships"><Relationship Id="rId1" Type="http://schemas.openxmlformats.org/officeDocument/2006/relationships/package" Target="../embeddings/Microsoft_Excel_Worksheet951.xlsx"/></Relationships>
</file>

<file path=ppt/charts/_rels/chart953.xml.rels><?xml version='1.0' encoding='UTF-8' standalone='yes'?>
<Relationships xmlns="http://schemas.openxmlformats.org/package/2006/relationships"><Relationship Id="rId1" Type="http://schemas.openxmlformats.org/officeDocument/2006/relationships/package" Target="../embeddings/Microsoft_Excel_Worksheet952.xlsx"/></Relationships>
</file>

<file path=ppt/charts/_rels/chart954.xml.rels><?xml version='1.0' encoding='UTF-8' standalone='yes'?>
<Relationships xmlns="http://schemas.openxmlformats.org/package/2006/relationships"><Relationship Id="rId1" Type="http://schemas.openxmlformats.org/officeDocument/2006/relationships/package" Target="../embeddings/Microsoft_Excel_Worksheet953.xlsx"/></Relationships>
</file>

<file path=ppt/charts/_rels/chart955.xml.rels><?xml version='1.0' encoding='UTF-8' standalone='yes'?>
<Relationships xmlns="http://schemas.openxmlformats.org/package/2006/relationships"><Relationship Id="rId1" Type="http://schemas.openxmlformats.org/officeDocument/2006/relationships/package" Target="../embeddings/Microsoft_Excel_Worksheet954.xlsx"/></Relationships>
</file>

<file path=ppt/charts/_rels/chart956.xml.rels><?xml version='1.0' encoding='UTF-8' standalone='yes'?>
<Relationships xmlns="http://schemas.openxmlformats.org/package/2006/relationships"><Relationship Id="rId1" Type="http://schemas.openxmlformats.org/officeDocument/2006/relationships/package" Target="../embeddings/Microsoft_Excel_Worksheet955.xlsx"/></Relationships>
</file>

<file path=ppt/charts/_rels/chart957.xml.rels><?xml version='1.0' encoding='UTF-8' standalone='yes'?>
<Relationships xmlns="http://schemas.openxmlformats.org/package/2006/relationships"><Relationship Id="rId1" Type="http://schemas.openxmlformats.org/officeDocument/2006/relationships/package" Target="../embeddings/Microsoft_Excel_Worksheet956.xlsx"/></Relationships>
</file>

<file path=ppt/charts/_rels/chart958.xml.rels><?xml version='1.0' encoding='UTF-8' standalone='yes'?>
<Relationships xmlns="http://schemas.openxmlformats.org/package/2006/relationships"><Relationship Id="rId1" Type="http://schemas.openxmlformats.org/officeDocument/2006/relationships/package" Target="../embeddings/Microsoft_Excel_Worksheet957.xlsx"/></Relationships>
</file>

<file path=ppt/charts/_rels/chart959.xml.rels><?xml version='1.0' encoding='UTF-8' standalone='yes'?>
<Relationships xmlns="http://schemas.openxmlformats.org/package/2006/relationships"><Relationship Id="rId1" Type="http://schemas.openxmlformats.org/officeDocument/2006/relationships/package" Target="../embeddings/Microsoft_Excel_Worksheet958.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60.xml.rels><?xml version='1.0' encoding='UTF-8' standalone='yes'?>
<Relationships xmlns="http://schemas.openxmlformats.org/package/2006/relationships"><Relationship Id="rId1" Type="http://schemas.openxmlformats.org/officeDocument/2006/relationships/package" Target="../embeddings/Microsoft_Excel_Worksheet959.xlsx"/></Relationships>
</file>

<file path=ppt/charts/_rels/chart961.xml.rels><?xml version='1.0' encoding='UTF-8' standalone='yes'?>
<Relationships xmlns="http://schemas.openxmlformats.org/package/2006/relationships"><Relationship Id="rId1" Type="http://schemas.openxmlformats.org/officeDocument/2006/relationships/package" Target="../embeddings/Microsoft_Excel_Worksheet960.xlsx"/></Relationships>
</file>

<file path=ppt/charts/_rels/chart962.xml.rels><?xml version='1.0' encoding='UTF-8' standalone='yes'?>
<Relationships xmlns="http://schemas.openxmlformats.org/package/2006/relationships"><Relationship Id="rId1" Type="http://schemas.openxmlformats.org/officeDocument/2006/relationships/package" Target="../embeddings/Microsoft_Excel_Worksheet961.xlsx"/></Relationships>
</file>

<file path=ppt/charts/_rels/chart963.xml.rels><?xml version='1.0' encoding='UTF-8' standalone='yes'?>
<Relationships xmlns="http://schemas.openxmlformats.org/package/2006/relationships"><Relationship Id="rId1" Type="http://schemas.openxmlformats.org/officeDocument/2006/relationships/package" Target="../embeddings/Microsoft_Excel_Worksheet962.xlsx"/></Relationships>
</file>

<file path=ppt/charts/_rels/chart964.xml.rels><?xml version='1.0' encoding='UTF-8' standalone='yes'?>
<Relationships xmlns="http://schemas.openxmlformats.org/package/2006/relationships"><Relationship Id="rId1" Type="http://schemas.openxmlformats.org/officeDocument/2006/relationships/package" Target="../embeddings/Microsoft_Excel_Worksheet963.xlsx"/></Relationships>
</file>

<file path=ppt/charts/_rels/chart965.xml.rels><?xml version='1.0' encoding='UTF-8' standalone='yes'?>
<Relationships xmlns="http://schemas.openxmlformats.org/package/2006/relationships"><Relationship Id="rId1" Type="http://schemas.openxmlformats.org/officeDocument/2006/relationships/package" Target="../embeddings/Microsoft_Excel_Worksheet964.xlsx"/></Relationships>
</file>

<file path=ppt/charts/_rels/chart966.xml.rels><?xml version='1.0' encoding='UTF-8' standalone='yes'?>
<Relationships xmlns="http://schemas.openxmlformats.org/package/2006/relationships"><Relationship Id="rId1" Type="http://schemas.openxmlformats.org/officeDocument/2006/relationships/package" Target="../embeddings/Microsoft_Excel_Worksheet965.xlsx"/></Relationships>
</file>

<file path=ppt/charts/_rels/chart967.xml.rels><?xml version='1.0' encoding='UTF-8' standalone='yes'?>
<Relationships xmlns="http://schemas.openxmlformats.org/package/2006/relationships"><Relationship Id="rId1" Type="http://schemas.openxmlformats.org/officeDocument/2006/relationships/package" Target="../embeddings/Microsoft_Excel_Worksheet966.xlsx"/></Relationships>
</file>

<file path=ppt/charts/_rels/chart968.xml.rels><?xml version='1.0' encoding='UTF-8' standalone='yes'?>
<Relationships xmlns="http://schemas.openxmlformats.org/package/2006/relationships"><Relationship Id="rId1" Type="http://schemas.openxmlformats.org/officeDocument/2006/relationships/package" Target="../embeddings/Microsoft_Excel_Worksheet967.xlsx"/></Relationships>
</file>

<file path=ppt/charts/_rels/chart969.xml.rels><?xml version='1.0' encoding='UTF-8' standalone='yes'?>
<Relationships xmlns="http://schemas.openxmlformats.org/package/2006/relationships"><Relationship Id="rId1" Type="http://schemas.openxmlformats.org/officeDocument/2006/relationships/package" Target="../embeddings/Microsoft_Excel_Worksheet968.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70.xml.rels><?xml version='1.0' encoding='UTF-8' standalone='yes'?>
<Relationships xmlns="http://schemas.openxmlformats.org/package/2006/relationships"><Relationship Id="rId1" Type="http://schemas.openxmlformats.org/officeDocument/2006/relationships/package" Target="../embeddings/Microsoft_Excel_Worksheet969.xlsx"/></Relationships>
</file>

<file path=ppt/charts/_rels/chart971.xml.rels><?xml version='1.0' encoding='UTF-8' standalone='yes'?>
<Relationships xmlns="http://schemas.openxmlformats.org/package/2006/relationships"><Relationship Id="rId1" Type="http://schemas.openxmlformats.org/officeDocument/2006/relationships/package" Target="../embeddings/Microsoft_Excel_Worksheet970.xlsx"/></Relationships>
</file>

<file path=ppt/charts/_rels/chart972.xml.rels><?xml version='1.0' encoding='UTF-8' standalone='yes'?>
<Relationships xmlns="http://schemas.openxmlformats.org/package/2006/relationships"><Relationship Id="rId1" Type="http://schemas.openxmlformats.org/officeDocument/2006/relationships/package" Target="../embeddings/Microsoft_Excel_Worksheet971.xlsx"/></Relationships>
</file>

<file path=ppt/charts/_rels/chart973.xml.rels><?xml version='1.0' encoding='UTF-8' standalone='yes'?>
<Relationships xmlns="http://schemas.openxmlformats.org/package/2006/relationships"><Relationship Id="rId1" Type="http://schemas.openxmlformats.org/officeDocument/2006/relationships/package" Target="../embeddings/Microsoft_Excel_Worksheet972.xlsx"/></Relationships>
</file>

<file path=ppt/charts/_rels/chart974.xml.rels><?xml version='1.0' encoding='UTF-8' standalone='yes'?>
<Relationships xmlns="http://schemas.openxmlformats.org/package/2006/relationships"><Relationship Id="rId1" Type="http://schemas.openxmlformats.org/officeDocument/2006/relationships/package" Target="../embeddings/Microsoft_Excel_Worksheet973.xlsx"/></Relationships>
</file>

<file path=ppt/charts/_rels/chart975.xml.rels><?xml version='1.0' encoding='UTF-8' standalone='yes'?>
<Relationships xmlns="http://schemas.openxmlformats.org/package/2006/relationships"><Relationship Id="rId1" Type="http://schemas.openxmlformats.org/officeDocument/2006/relationships/package" Target="../embeddings/Microsoft_Excel_Worksheet974.xlsx"/></Relationships>
</file>

<file path=ppt/charts/_rels/chart976.xml.rels><?xml version='1.0' encoding='UTF-8' standalone='yes'?>
<Relationships xmlns="http://schemas.openxmlformats.org/package/2006/relationships"><Relationship Id="rId1" Type="http://schemas.openxmlformats.org/officeDocument/2006/relationships/package" Target="../embeddings/Microsoft_Excel_Worksheet975.xlsx"/></Relationships>
</file>

<file path=ppt/charts/_rels/chart977.xml.rels><?xml version='1.0' encoding='UTF-8' standalone='yes'?>
<Relationships xmlns="http://schemas.openxmlformats.org/package/2006/relationships"><Relationship Id="rId1" Type="http://schemas.openxmlformats.org/officeDocument/2006/relationships/package" Target="../embeddings/Microsoft_Excel_Worksheet976.xlsx"/></Relationships>
</file>

<file path=ppt/charts/_rels/chart978.xml.rels><?xml version='1.0' encoding='UTF-8' standalone='yes'?>
<Relationships xmlns="http://schemas.openxmlformats.org/package/2006/relationships"><Relationship Id="rId1" Type="http://schemas.openxmlformats.org/officeDocument/2006/relationships/package" Target="../embeddings/Microsoft_Excel_Worksheet977.xlsx"/></Relationships>
</file>

<file path=ppt/charts/_rels/chart979.xml.rels><?xml version='1.0' encoding='UTF-8' standalone='yes'?>
<Relationships xmlns="http://schemas.openxmlformats.org/package/2006/relationships"><Relationship Id="rId1" Type="http://schemas.openxmlformats.org/officeDocument/2006/relationships/package" Target="../embeddings/Microsoft_Excel_Worksheet978.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80.xml.rels><?xml version='1.0' encoding='UTF-8' standalone='yes'?>
<Relationships xmlns="http://schemas.openxmlformats.org/package/2006/relationships"><Relationship Id="rId1" Type="http://schemas.openxmlformats.org/officeDocument/2006/relationships/package" Target="../embeddings/Microsoft_Excel_Worksheet979.xlsx"/></Relationships>
</file>

<file path=ppt/charts/_rels/chart981.xml.rels><?xml version='1.0' encoding='UTF-8' standalone='yes'?>
<Relationships xmlns="http://schemas.openxmlformats.org/package/2006/relationships"><Relationship Id="rId1" Type="http://schemas.openxmlformats.org/officeDocument/2006/relationships/package" Target="../embeddings/Microsoft_Excel_Worksheet980.xlsx"/></Relationships>
</file>

<file path=ppt/charts/_rels/chart982.xml.rels><?xml version='1.0' encoding='UTF-8' standalone='yes'?>
<Relationships xmlns="http://schemas.openxmlformats.org/package/2006/relationships"><Relationship Id="rId1" Type="http://schemas.openxmlformats.org/officeDocument/2006/relationships/package" Target="../embeddings/Microsoft_Excel_Worksheet981.xlsx"/></Relationships>
</file>

<file path=ppt/charts/_rels/chart983.xml.rels><?xml version='1.0' encoding='UTF-8' standalone='yes'?>
<Relationships xmlns="http://schemas.openxmlformats.org/package/2006/relationships"><Relationship Id="rId1" Type="http://schemas.openxmlformats.org/officeDocument/2006/relationships/package" Target="../embeddings/Microsoft_Excel_Worksheet982.xlsx"/></Relationships>
</file>

<file path=ppt/charts/_rels/chart984.xml.rels><?xml version='1.0' encoding='UTF-8' standalone='yes'?>
<Relationships xmlns="http://schemas.openxmlformats.org/package/2006/relationships"><Relationship Id="rId1" Type="http://schemas.openxmlformats.org/officeDocument/2006/relationships/package" Target="../embeddings/Microsoft_Excel_Worksheet983.xlsx"/></Relationships>
</file>

<file path=ppt/charts/_rels/chart985.xml.rels><?xml version='1.0' encoding='UTF-8' standalone='yes'?>
<Relationships xmlns="http://schemas.openxmlformats.org/package/2006/relationships"><Relationship Id="rId1" Type="http://schemas.openxmlformats.org/officeDocument/2006/relationships/package" Target="../embeddings/Microsoft_Excel_Worksheet984.xlsx"/></Relationships>
</file>

<file path=ppt/charts/_rels/chart986.xml.rels><?xml version='1.0' encoding='UTF-8' standalone='yes'?>
<Relationships xmlns="http://schemas.openxmlformats.org/package/2006/relationships"><Relationship Id="rId1" Type="http://schemas.openxmlformats.org/officeDocument/2006/relationships/package" Target="../embeddings/Microsoft_Excel_Worksheet985.xlsx"/></Relationships>
</file>

<file path=ppt/charts/_rels/chart987.xml.rels><?xml version='1.0' encoding='UTF-8' standalone='yes'?>
<Relationships xmlns="http://schemas.openxmlformats.org/package/2006/relationships"><Relationship Id="rId1" Type="http://schemas.openxmlformats.org/officeDocument/2006/relationships/package" Target="../embeddings/Microsoft_Excel_Worksheet986.xlsx"/></Relationships>
</file>

<file path=ppt/charts/_rels/chart988.xml.rels><?xml version='1.0' encoding='UTF-8' standalone='yes'?>
<Relationships xmlns="http://schemas.openxmlformats.org/package/2006/relationships"><Relationship Id="rId1" Type="http://schemas.openxmlformats.org/officeDocument/2006/relationships/package" Target="../embeddings/Microsoft_Excel_Worksheet987.xlsx"/></Relationships>
</file>

<file path=ppt/charts/_rels/chart989.xml.rels><?xml version='1.0' encoding='UTF-8' standalone='yes'?>
<Relationships xmlns="http://schemas.openxmlformats.org/package/2006/relationships"><Relationship Id="rId1" Type="http://schemas.openxmlformats.org/officeDocument/2006/relationships/package" Target="../embeddings/Microsoft_Excel_Worksheet98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_rels/chart990.xml.rels><?xml version='1.0' encoding='UTF-8' standalone='yes'?>
<Relationships xmlns="http://schemas.openxmlformats.org/package/2006/relationships"><Relationship Id="rId1" Type="http://schemas.openxmlformats.org/officeDocument/2006/relationships/package" Target="../embeddings/Microsoft_Excel_Worksheet989.xlsx"/></Relationships>
</file>

<file path=ppt/charts/_rels/chart991.xml.rels><?xml version='1.0' encoding='UTF-8' standalone='yes'?>
<Relationships xmlns="http://schemas.openxmlformats.org/package/2006/relationships"><Relationship Id="rId1" Type="http://schemas.openxmlformats.org/officeDocument/2006/relationships/package" Target="../embeddings/Microsoft_Excel_Worksheet990.xlsx"/></Relationships>
</file>

<file path=ppt/charts/_rels/chart992.xml.rels><?xml version='1.0' encoding='UTF-8' standalone='yes'?>
<Relationships xmlns="http://schemas.openxmlformats.org/package/2006/relationships"><Relationship Id="rId1" Type="http://schemas.openxmlformats.org/officeDocument/2006/relationships/package" Target="../embeddings/Microsoft_Excel_Worksheet991.xlsx"/></Relationships>
</file>

<file path=ppt/charts/_rels/chart993.xml.rels><?xml version='1.0' encoding='UTF-8' standalone='yes'?>
<Relationships xmlns="http://schemas.openxmlformats.org/package/2006/relationships"><Relationship Id="rId1" Type="http://schemas.openxmlformats.org/officeDocument/2006/relationships/package" Target="../embeddings/Microsoft_Excel_Worksheet992.xlsx"/></Relationships>
</file>

<file path=ppt/charts/_rels/chart994.xml.rels><?xml version='1.0' encoding='UTF-8' standalone='yes'?>
<Relationships xmlns="http://schemas.openxmlformats.org/package/2006/relationships"><Relationship Id="rId1" Type="http://schemas.openxmlformats.org/officeDocument/2006/relationships/package" Target="../embeddings/Microsoft_Excel_Worksheet993.xlsx"/></Relationships>
</file>

<file path=ppt/charts/_rels/chart995.xml.rels><?xml version='1.0' encoding='UTF-8' standalone='yes'?>
<Relationships xmlns="http://schemas.openxmlformats.org/package/2006/relationships"><Relationship Id="rId1" Type="http://schemas.openxmlformats.org/officeDocument/2006/relationships/package" Target="../embeddings/Microsoft_Excel_Worksheet994.xlsx"/></Relationships>
</file>

<file path=ppt/charts/_rels/chart996.xml.rels><?xml version='1.0' encoding='UTF-8' standalone='yes'?>
<Relationships xmlns="http://schemas.openxmlformats.org/package/2006/relationships"><Relationship Id="rId1" Type="http://schemas.openxmlformats.org/officeDocument/2006/relationships/package" Target="../embeddings/Microsoft_Excel_Worksheet995.xlsx"/></Relationships>
</file>

<file path=ppt/charts/_rels/chart997.xml.rels><?xml version='1.0' encoding='UTF-8' standalone='yes'?>
<Relationships xmlns="http://schemas.openxmlformats.org/package/2006/relationships"><Relationship Id="rId1" Type="http://schemas.openxmlformats.org/officeDocument/2006/relationships/package" Target="../embeddings/Microsoft_Excel_Worksheet996.xlsx"/></Relationships>
</file>

<file path=ppt/charts/_rels/chart998.xml.rels><?xml version='1.0' encoding='UTF-8' standalone='yes'?>
<Relationships xmlns="http://schemas.openxmlformats.org/package/2006/relationships"><Relationship Id="rId1" Type="http://schemas.openxmlformats.org/officeDocument/2006/relationships/package" Target="../embeddings/Microsoft_Excel_Worksheet997.xlsx"/></Relationships>
</file>

<file path=ppt/charts/_rels/chart999.xml.rels><?xml version='1.0' encoding='UTF-8' standalone='yes'?>
<Relationships xmlns="http://schemas.openxmlformats.org/package/2006/relationships"><Relationship Id="rId1" Type="http://schemas.openxmlformats.org/officeDocument/2006/relationships/package" Target="../embeddings/Microsoft_Excel_Worksheet9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484190721979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3">
                  <c:v>0.006032822056444911</c:v>
                </c:pt>
                <c:pt idx="5">
                  <c:v>0.0036407822186106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3076866107340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7140862693806515</c:v>
                </c:pt>
                <c:pt idx="5">
                  <c:v>0.001416548887652322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5467109666794896</c:v>
                </c:pt>
                <c:pt idx="2">
                  <c:v>0.016679697501039568</c:v>
                </c:pt>
                <c:pt idx="3">
                  <c:v>0.06367211657314265</c:v>
                </c:pt>
                <c:pt idx="4">
                  <c:v>0.044652764939891024</c:v>
                </c:pt>
                <c:pt idx="5">
                  <c:v>0.012691240327700588</c:v>
                </c:pt>
                <c:pt idx="6">
                  <c:v>0.07209431706680018</c:v>
                </c:pt>
                <c:pt idx="7">
                  <c:v>0.0255482727422910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712897997361814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4156095925046042</c:v>
                </c:pt>
                <c:pt idx="4">
                  <c:v>0.0166122527586364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981527751852436</c:v>
                </c:pt>
                <c:pt idx="2">
                  <c:v>0.003746810808584562</c:v>
                </c:pt>
                <c:pt idx="3">
                  <c:v>0.12814624465356717</c:v>
                </c:pt>
                <c:pt idx="4">
                  <c:v>0.044432158047269084</c:v>
                </c:pt>
                <c:pt idx="5">
                  <c:v>0.02111370180474106</c:v>
                </c:pt>
                <c:pt idx="6">
                  <c:v>0.0089274145511306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5072017426512618</c:v>
                </c:pt>
                <c:pt idx="6">
                  <c:v>0.00744291426873773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71946008697023</c:v>
                </c:pt>
                <c:pt idx="3">
                  <c:v>0.008050068180345444</c:v>
                </c:pt>
                <c:pt idx="4">
                  <c:v>0.0066824067765569465</c:v>
                </c:pt>
                <c:pt idx="5">
                  <c:v>0.00472862582848377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97170924814538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727800153864167</c:v>
                </c:pt>
                <c:pt idx="5">
                  <c:v>0.0066869816057425376</c:v>
                </c:pt>
                <c:pt idx="6">
                  <c:v>0.00086150973371730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2569911003466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3393672521307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6278115184695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709123169444685</c:v>
                </c:pt>
                <c:pt idx="4">
                  <c:v>0.000794071614289501</c:v>
                </c:pt>
                <c:pt idx="5">
                  <c:v>0.0026687873593565017</c:v>
                </c:pt>
                <c:pt idx="6">
                  <c:v>0.00051595776705384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77578984700161</c:v>
                </c:pt>
                <c:pt idx="1">
                  <c:v>0.000915816852872929</c:v>
                </c:pt>
                <c:pt idx="3">
                  <c:v>0.020771119319009435</c:v>
                </c:pt>
                <c:pt idx="4">
                  <c:v>0.02757233798302179</c:v>
                </c:pt>
                <c:pt idx="5">
                  <c:v>0.006924719957045275</c:v>
                </c:pt>
                <c:pt idx="6">
                  <c:v>0.06384954571126632</c:v>
                </c:pt>
                <c:pt idx="7">
                  <c:v>0.04477406350764790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6564295728390405</c:v>
                </c:pt>
                <c:pt idx="7">
                  <c:v>0.002093069502419623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97586430779412</c:v>
                </c:pt>
                <c:pt idx="5">
                  <c:v>0.0011485770205838883</c:v>
                </c:pt>
                <c:pt idx="6">
                  <c:v>0.011463653618913253</c:v>
                </c:pt>
                <c:pt idx="7">
                  <c:v>0.00100399988365118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18726410917349</c:v>
                </c:pt>
                <c:pt idx="1">
                  <c:v>0.0014270974400183288</c:v>
                </c:pt>
                <c:pt idx="3">
                  <c:v>0.024501431586253543</c:v>
                </c:pt>
                <c:pt idx="4">
                  <c:v>0.024246147121892225</c:v>
                </c:pt>
                <c:pt idx="5">
                  <c:v>0.0071913875964825435</c:v>
                </c:pt>
                <c:pt idx="6">
                  <c:v>0.17100265493308037</c:v>
                </c:pt>
                <c:pt idx="7">
                  <c:v>0.0539130795784911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8188210066870043</c:v>
                </c:pt>
                <c:pt idx="6">
                  <c:v>0.000816187563113949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7835563449315251</c:v>
                </c:pt>
                <c:pt idx="3">
                  <c:v>0.0013455869315407993</c:v>
                </c:pt>
                <c:pt idx="4">
                  <c:v>0.00331372515618139</c:v>
                </c:pt>
                <c:pt idx="5">
                  <c:v>0.0030819202259380492</c:v>
                </c:pt>
                <c:pt idx="6">
                  <c:v>0.0015712814048770471</c:v>
                </c:pt>
                <c:pt idx="7">
                  <c:v>0.0126015354256061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1490122055891761</c:v>
                </c:pt>
                <c:pt idx="5">
                  <c:v>0.001253312395991421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229582051179614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044432567708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394623026617223</c:v>
                </c:pt>
                <c:pt idx="2">
                  <c:v>0.01930968320379556</c:v>
                </c:pt>
                <c:pt idx="3">
                  <c:v>0.004797238296047686</c:v>
                </c:pt>
                <c:pt idx="4">
                  <c:v>0.00501818146799189</c:v>
                </c:pt>
                <c:pt idx="5">
                  <c:v>0.00243331270922252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17343280614366675</c:v>
                </c:pt>
                <c:pt idx="3">
                  <c:v>0.0008031147842234313</c:v>
                </c:pt>
                <c:pt idx="4">
                  <c:v>0.0026627260362403287</c:v>
                </c:pt>
                <c:pt idx="5">
                  <c:v>0.00551021235507024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247755703708243</c:v>
                </c:pt>
                <c:pt idx="4">
                  <c:v>0.0103110163605161</c:v>
                </c:pt>
                <c:pt idx="5">
                  <c:v>0.00055046053599947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15218952066543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12949779527874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17343280614366675</c:v>
                </c:pt>
                <c:pt idx="3">
                  <c:v>0.0008031147842234313</c:v>
                </c:pt>
                <c:pt idx="4">
                  <c:v>0.0026627260362403287</c:v>
                </c:pt>
                <c:pt idx="5">
                  <c:v>0.00551021235507024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21171641815794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94191782647606</c:v>
                </c:pt>
                <c:pt idx="7">
                  <c:v>0.0102052245897554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270974253293454</c:v>
                </c:pt>
                <c:pt idx="5">
                  <c:v>0.003986173290414622</c:v>
                </c:pt>
                <c:pt idx="6">
                  <c:v>0.0445133339438448</c:v>
                </c:pt>
                <c:pt idx="7">
                  <c:v>0.003474968398645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6581820135669217</c:v>
                </c:pt>
                <c:pt idx="6">
                  <c:v>0.007980159161629585</c:v>
                </c:pt>
                <c:pt idx="7">
                  <c:v>0.0020360405910451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5891216671411186</c:v>
                </c:pt>
                <c:pt idx="3">
                  <c:v>0.00323574416959228</c:v>
                </c:pt>
                <c:pt idx="4">
                  <c:v>0.008020558063673099</c:v>
                </c:pt>
                <c:pt idx="5">
                  <c:v>0.004842848250066467</c:v>
                </c:pt>
                <c:pt idx="6">
                  <c:v>0.003950885595120405</c:v>
                </c:pt>
                <c:pt idx="7">
                  <c:v>0.00741108722839353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1107216323195535</c:v>
                </c:pt>
                <c:pt idx="3">
                  <c:v>0.001542817813233173</c:v>
                </c:pt>
                <c:pt idx="5">
                  <c:v>0.001519628804289572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209865797989455</c:v>
                </c:pt>
                <c:pt idx="3">
                  <c:v>0.0016302768615881701</c:v>
                </c:pt>
                <c:pt idx="4">
                  <c:v>0.001512322643689376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861009940347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4204132529567627</c:v>
                </c:pt>
                <c:pt idx="2">
                  <c:v>0.0124836012360777</c:v>
                </c:pt>
                <c:pt idx="3">
                  <c:v>0.0027319075518397284</c:v>
                </c:pt>
                <c:pt idx="4">
                  <c:v>0.003028618027943307</c:v>
                </c:pt>
                <c:pt idx="5">
                  <c:v>0.001068393856872839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13110557277980344</c:v>
                </c:pt>
                <c:pt idx="4">
                  <c:v>0.001178510312856369</c:v>
                </c:pt>
                <c:pt idx="5">
                  <c:v>0.00316493515421538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062936847664944095</c:v>
                </c:pt>
                <c:pt idx="5">
                  <c:v>0.00316488255366420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1061017175161346</c:v>
                </c:pt>
                <c:pt idx="4">
                  <c:v>0.004787746374808834</c:v>
                </c:pt>
                <c:pt idx="5">
                  <c:v>0.00140517895821774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31259213533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13110557277980344</c:v>
                </c:pt>
                <c:pt idx="4">
                  <c:v>0.001178510312856369</c:v>
                </c:pt>
                <c:pt idx="5">
                  <c:v>0.00316493515421538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062936847664944095</c:v>
                </c:pt>
                <c:pt idx="5">
                  <c:v>0.00316488255366420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3047625076779966</c:v>
                </c:pt>
                <c:pt idx="4">
                  <c:v>0.0099981387375544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733482467670795</c:v>
                </c:pt>
                <c:pt idx="2">
                  <c:v>0.0026266784789265667</c:v>
                </c:pt>
                <c:pt idx="3">
                  <c:v>0.01605612537045115</c:v>
                </c:pt>
                <c:pt idx="4">
                  <c:v>0.008405114033776414</c:v>
                </c:pt>
                <c:pt idx="5">
                  <c:v>0.004058665314781663</c:v>
                </c:pt>
                <c:pt idx="6">
                  <c:v>0.021563473466497434</c:v>
                </c:pt>
                <c:pt idx="7">
                  <c:v>0.0088874747934107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679284545371273</c:v>
                </c:pt>
                <c:pt idx="4">
                  <c:v>0.000735892115333689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675777857676648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6659833703072</c:v>
                </c:pt>
                <c:pt idx="4">
                  <c:v>0.00448667688816899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4524820523728823</c:v>
                </c:pt>
                <c:pt idx="2">
                  <c:v>0.001458216902943582</c:v>
                </c:pt>
                <c:pt idx="3">
                  <c:v>0.02897494611144492</c:v>
                </c:pt>
                <c:pt idx="4">
                  <c:v>0.022034651177659122</c:v>
                </c:pt>
                <c:pt idx="5">
                  <c:v>0.004727195051397662</c:v>
                </c:pt>
                <c:pt idx="6">
                  <c:v>0.0125492255069227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257768369694967</c:v>
                </c:pt>
                <c:pt idx="2">
                  <c:v>0.0014581584940925798</c:v>
                </c:pt>
                <c:pt idx="3">
                  <c:v>0.004262297040550122</c:v>
                </c:pt>
                <c:pt idx="4">
                  <c:v>0.001996217834198327</c:v>
                </c:pt>
                <c:pt idx="5">
                  <c:v>0.000901603517057112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057705778171167</c:v>
                </c:pt>
                <c:pt idx="4">
                  <c:v>0.00231060771809525</c:v>
                </c:pt>
                <c:pt idx="5">
                  <c:v>0.0006190284850021856</c:v>
                </c:pt>
                <c:pt idx="7">
                  <c:v>0.00088877803166313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8224680107053819</c:v>
                </c:pt>
                <c:pt idx="7">
                  <c:v>0.00162141073342252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3892082401220382</c:v>
                </c:pt>
                <c:pt idx="2">
                  <c:v>0.0022626973304845977</c:v>
                </c:pt>
                <c:pt idx="3">
                  <c:v>0.07082899290952326</c:v>
                </c:pt>
                <c:pt idx="4">
                  <c:v>0.034948120081804764</c:v>
                </c:pt>
                <c:pt idx="5">
                  <c:v>0.010967174721128766</c:v>
                </c:pt>
                <c:pt idx="6">
                  <c:v>0.01009948855062579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977208964186282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674663688375724</c:v>
                </c:pt>
                <c:pt idx="5">
                  <c:v>0.009843407028655944</c:v>
                </c:pt>
                <c:pt idx="6">
                  <c:v>0.00113348266176790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678503899595548</c:v>
                </c:pt>
                <c:pt idx="1">
                  <c:v>0.0018298155106818536</c:v>
                </c:pt>
                <c:pt idx="3">
                  <c:v>0.02746659744082927</c:v>
                </c:pt>
                <c:pt idx="4">
                  <c:v>0.021655523319572014</c:v>
                </c:pt>
                <c:pt idx="5">
                  <c:v>0.007413617298143259</c:v>
                </c:pt>
                <c:pt idx="6">
                  <c:v>0.2551609501618002</c:v>
                </c:pt>
                <c:pt idx="7">
                  <c:v>0.0611661266796680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800968890001607</c:v>
                </c:pt>
                <c:pt idx="2">
                  <c:v>0.0021896920948578902</c:v>
                </c:pt>
                <c:pt idx="3">
                  <c:v>0.012513416174792845</c:v>
                </c:pt>
                <c:pt idx="4">
                  <c:v>0.00306869797584349</c:v>
                </c:pt>
                <c:pt idx="5">
                  <c:v>0.006604082943526084</c:v>
                </c:pt>
                <c:pt idx="6">
                  <c:v>0.000543966322925258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720752483244313</c:v>
                </c:pt>
                <c:pt idx="7">
                  <c:v>0.0165714127469803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62315907707282</c:v>
                </c:pt>
                <c:pt idx="3">
                  <c:v>0.0006178717900639643</c:v>
                </c:pt>
                <c:pt idx="5">
                  <c:v>0.006213813133335783</c:v>
                </c:pt>
                <c:pt idx="6">
                  <c:v>0.07045508594291316</c:v>
                </c:pt>
                <c:pt idx="7">
                  <c:v>0.0054147945290344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318006671776466</c:v>
                </c:pt>
                <c:pt idx="6">
                  <c:v>0.013600198927167392</c:v>
                </c:pt>
                <c:pt idx="7">
                  <c:v>0.00349354670159157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790923566882478</c:v>
                </c:pt>
                <c:pt idx="3">
                  <c:v>0.004720694196203222</c:v>
                </c:pt>
                <c:pt idx="4">
                  <c:v>0.011704925565687276</c:v>
                </c:pt>
                <c:pt idx="5">
                  <c:v>0.006229696846261716</c:v>
                </c:pt>
                <c:pt idx="6">
                  <c:v>0.005820153951872868</c:v>
                </c:pt>
                <c:pt idx="7">
                  <c:v>0.0033643962452697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97967522161519</c:v>
                </c:pt>
                <c:pt idx="3">
                  <c:v>0.005903625784275362</c:v>
                </c:pt>
                <c:pt idx="4">
                  <c:v>0.004540235142952716</c:v>
                </c:pt>
                <c:pt idx="5">
                  <c:v>0.002231189555918064</c:v>
                </c:pt>
                <c:pt idx="7">
                  <c:v>0.000523624285532255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910760716935357</c:v>
                </c:pt>
                <c:pt idx="3">
                  <c:v>0.0018538000819429254</c:v>
                </c:pt>
                <c:pt idx="5">
                  <c:v>0.00173077606510401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33806811121813</c:v>
                </c:pt>
                <c:pt idx="3">
                  <c:v>0.002628847094727876</c:v>
                </c:pt>
                <c:pt idx="4">
                  <c:v>0.002435391488778450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2441015612142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7099938304877336</c:v>
                </c:pt>
                <c:pt idx="3">
                  <c:v>0.0011170762645086412</c:v>
                </c:pt>
                <c:pt idx="4">
                  <c:v>0.001477825802588982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982406371455527</c:v>
                </c:pt>
                <c:pt idx="5">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553342440308256</c:v>
                </c:pt>
                <c:pt idx="5">
                  <c:v>0.001336005617809217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01184050249328</c:v>
                </c:pt>
                <c:pt idx="5">
                  <c:v>0.002076521517570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1997680511640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982406371455527</c:v>
                </c:pt>
                <c:pt idx="5">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553342440308256</c:v>
                </c:pt>
                <c:pt idx="5">
                  <c:v>0.001336005617809217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802447120148726</c:v>
                </c:pt>
                <c:pt idx="2">
                  <c:v>0.04241814294214397</c:v>
                </c:pt>
                <c:pt idx="3">
                  <c:v>0.036825612288710195</c:v>
                </c:pt>
                <c:pt idx="4">
                  <c:v>0.15466907169927666</c:v>
                </c:pt>
                <c:pt idx="5">
                  <c:v>0.05447975756684023</c:v>
                </c:pt>
                <c:pt idx="6">
                  <c:v>0.08782062059065275</c:v>
                </c:pt>
                <c:pt idx="7">
                  <c:v>0.0073094516871945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3525515716639687</c:v>
                </c:pt>
                <c:pt idx="4">
                  <c:v>0.00218781260948937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419235138340387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0058958992497093</c:v>
                </c:pt>
                <c:pt idx="4">
                  <c:v>0.0470568817713853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8084647817545414</c:v>
                </c:pt>
                <c:pt idx="3">
                  <c:v>0.05143677585409391</c:v>
                </c:pt>
                <c:pt idx="4">
                  <c:v>0.1281257956743085</c:v>
                </c:pt>
                <c:pt idx="5">
                  <c:v>0.011481727388128042</c:v>
                </c:pt>
                <c:pt idx="6">
                  <c:v>0.000862270577499066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5249244590651475</c:v>
                </c:pt>
                <c:pt idx="3">
                  <c:v>0.004793096154200613</c:v>
                </c:pt>
                <c:pt idx="5">
                  <c:v>0.00404556625041122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1413251622228063</c:v>
                </c:pt>
                <c:pt idx="4">
                  <c:v>0.006030627780695943</c:v>
                </c:pt>
                <c:pt idx="5">
                  <c:v>0.00443634681334110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1624622614493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435298747451548</c:v>
                </c:pt>
                <c:pt idx="4">
                  <c:v>0.0109953162984658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2214049764099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5623156359541738</c:v>
                </c:pt>
                <c:pt idx="4">
                  <c:v>0.07652827914762202</c:v>
                </c:pt>
                <c:pt idx="5">
                  <c:v>0.06008920409150242</c:v>
                </c:pt>
                <c:pt idx="6">
                  <c:v>0.0776849816347099</c:v>
                </c:pt>
                <c:pt idx="7">
                  <c:v>0.00140230178728148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598662337586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2171979513603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86358714294844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51503076334415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27626697681225</c:v>
                </c:pt>
                <c:pt idx="3">
                  <c:v>0.0015020415940527627</c:v>
                </c:pt>
                <c:pt idx="4">
                  <c:v>0.022418197200598854</c:v>
                </c:pt>
                <c:pt idx="5">
                  <c:v>0.00381999470341730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3">
                  <c:v>0.006032822056444911</c:v>
                </c:pt>
                <c:pt idx="5">
                  <c:v>0.0036407822186106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5">
                  <c:v>0.003640782218610666</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564617311527073</c:v>
                </c:pt>
                <c:pt idx="4">
                  <c:v>0.0018312228523206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484190721979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3">
                  <c:v>0.006032822056444911</c:v>
                </c:pt>
                <c:pt idx="5">
                  <c:v>0.0036407822186106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5">
                  <c:v>0.003640782218610666</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974076669129008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7140862693806515</c:v>
                </c:pt>
                <c:pt idx="5">
                  <c:v>0.001416548887652322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5467109666794896</c:v>
                </c:pt>
                <c:pt idx="2">
                  <c:v>0.016679697501039568</c:v>
                </c:pt>
                <c:pt idx="3">
                  <c:v>0.06367211657314265</c:v>
                </c:pt>
                <c:pt idx="4">
                  <c:v>0.044652764939891024</c:v>
                </c:pt>
                <c:pt idx="5">
                  <c:v>0.012691240327700588</c:v>
                </c:pt>
                <c:pt idx="6">
                  <c:v>0.07209431706680018</c:v>
                </c:pt>
                <c:pt idx="7">
                  <c:v>0.0255482727422910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631616954824141</c:v>
                </c:pt>
                <c:pt idx="4">
                  <c:v>0.01004452871679414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712897997361814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84819771557986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4156095925046042</c:v>
                </c:pt>
                <c:pt idx="4">
                  <c:v>0.0166122527586364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981527751852436</c:v>
                </c:pt>
                <c:pt idx="2">
                  <c:v>0.003746810808584562</c:v>
                </c:pt>
                <c:pt idx="3">
                  <c:v>0.12814624465356717</c:v>
                </c:pt>
                <c:pt idx="4">
                  <c:v>0.044432158047269084</c:v>
                </c:pt>
                <c:pt idx="5">
                  <c:v>0.02111370180474106</c:v>
                </c:pt>
                <c:pt idx="6">
                  <c:v>0.0089274145511306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54564418912547</c:v>
                </c:pt>
                <c:pt idx="2">
                  <c:v>0.0035638429522117654</c:v>
                </c:pt>
                <c:pt idx="3">
                  <c:v>0.023737705947028474</c:v>
                </c:pt>
                <c:pt idx="4">
                  <c:v>0.005135054804060108</c:v>
                </c:pt>
                <c:pt idx="5">
                  <c:v>0.015207881393918042</c:v>
                </c:pt>
                <c:pt idx="6">
                  <c:v>0.00115835592117925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71946008697023</c:v>
                </c:pt>
                <c:pt idx="3">
                  <c:v>0.008050068180345444</c:v>
                </c:pt>
                <c:pt idx="4">
                  <c:v>0.0066824067765569465</c:v>
                </c:pt>
                <c:pt idx="5">
                  <c:v>0.00472862582848377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97170924814538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965550859312224</c:v>
                </c:pt>
                <c:pt idx="5">
                  <c:v>0.006359536680488416</c:v>
                </c:pt>
                <c:pt idx="6">
                  <c:v>0.00079865700926967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2569911003466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3393672521307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6278115184695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709123169444685</c:v>
                </c:pt>
                <c:pt idx="4">
                  <c:v>0.000794071614289501</c:v>
                </c:pt>
                <c:pt idx="5">
                  <c:v>0.0026687873593565017</c:v>
                </c:pt>
                <c:pt idx="6">
                  <c:v>0.00051595776705384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77578984700161</c:v>
                </c:pt>
                <c:pt idx="1">
                  <c:v>0.000915816852872929</c:v>
                </c:pt>
                <c:pt idx="3">
                  <c:v>0.020771119319009435</c:v>
                </c:pt>
                <c:pt idx="4">
                  <c:v>0.02757233798302179</c:v>
                </c:pt>
                <c:pt idx="5">
                  <c:v>0.006924719957045275</c:v>
                </c:pt>
                <c:pt idx="6">
                  <c:v>0.06384954571126632</c:v>
                </c:pt>
                <c:pt idx="7">
                  <c:v>0.04477406350764790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6564295728390405</c:v>
                </c:pt>
                <c:pt idx="7">
                  <c:v>0.002093069502419623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97586430779412</c:v>
                </c:pt>
                <c:pt idx="5">
                  <c:v>0.0011485770205838883</c:v>
                </c:pt>
                <c:pt idx="6">
                  <c:v>0.011463653618913253</c:v>
                </c:pt>
                <c:pt idx="7">
                  <c:v>0.00100399988365118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26179046917774</c:v>
                </c:pt>
                <c:pt idx="1">
                  <c:v>0.001298165766080048</c:v>
                </c:pt>
                <c:pt idx="3">
                  <c:v>0.0234436095610927</c:v>
                </c:pt>
                <c:pt idx="4">
                  <c:v>0.02871968060320376</c:v>
                </c:pt>
                <c:pt idx="5">
                  <c:v>0.009543126231062257</c:v>
                </c:pt>
                <c:pt idx="6">
                  <c:v>0.1776486528142096</c:v>
                </c:pt>
                <c:pt idx="7">
                  <c:v>0.05029000176707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8188210066870043</c:v>
                </c:pt>
                <c:pt idx="6">
                  <c:v>0.000816187563113949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7835563449315251</c:v>
                </c:pt>
                <c:pt idx="3">
                  <c:v>0.0013455869315407993</c:v>
                </c:pt>
                <c:pt idx="4">
                  <c:v>0.00331372515618139</c:v>
                </c:pt>
                <c:pt idx="5">
                  <c:v>0.0030819202259380492</c:v>
                </c:pt>
                <c:pt idx="6">
                  <c:v>0.0015712814048770471</c:v>
                </c:pt>
                <c:pt idx="7">
                  <c:v>0.0126015354256061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1490122055891761</c:v>
                </c:pt>
                <c:pt idx="5">
                  <c:v>0.001253312395991421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229582051179614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044432567708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394623026617223</c:v>
                </c:pt>
                <c:pt idx="2">
                  <c:v>0.01930968320379556</c:v>
                </c:pt>
                <c:pt idx="3">
                  <c:v>0.004797238296047686</c:v>
                </c:pt>
                <c:pt idx="4">
                  <c:v>0.00501818146799189</c:v>
                </c:pt>
                <c:pt idx="5">
                  <c:v>0.00243331270922252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17343280614366675</c:v>
                </c:pt>
                <c:pt idx="3">
                  <c:v>0.0008031147842234313</c:v>
                </c:pt>
                <c:pt idx="4">
                  <c:v>0.0026627260362403287</c:v>
                </c:pt>
                <c:pt idx="5">
                  <c:v>0.00551021235507024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07280779777816028</c:v>
                </c:pt>
                <c:pt idx="5">
                  <c:v>0.00551021235507024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247755703708243</c:v>
                </c:pt>
                <c:pt idx="4">
                  <c:v>0.0103110163605161</c:v>
                </c:pt>
                <c:pt idx="5">
                  <c:v>0.00055046053599947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15218952066543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12949779527874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17343280614366675</c:v>
                </c:pt>
                <c:pt idx="3">
                  <c:v>0.0008031147842234313</c:v>
                </c:pt>
                <c:pt idx="4">
                  <c:v>0.0026627260362403287</c:v>
                </c:pt>
                <c:pt idx="5">
                  <c:v>0.00551021235507024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07280779777816028</c:v>
                </c:pt>
                <c:pt idx="5">
                  <c:v>0.00551021235507024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84819771557986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74938047941968</c:v>
                </c:pt>
                <c:pt idx="2">
                  <c:v>0.008738864593341474</c:v>
                </c:pt>
                <c:pt idx="3">
                  <c:v>0.035415936296077685</c:v>
                </c:pt>
                <c:pt idx="4">
                  <c:v>0.03095362895361869</c:v>
                </c:pt>
                <c:pt idx="5">
                  <c:v>0.00910992856120229</c:v>
                </c:pt>
                <c:pt idx="6">
                  <c:v>0.04388171510091246</c:v>
                </c:pt>
                <c:pt idx="7">
                  <c:v>0.0151031591763316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8731114264115172</c:v>
                </c:pt>
                <c:pt idx="3">
                  <c:v>0.00203512961516552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21171641815794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3047625076779966</c:v>
                </c:pt>
                <c:pt idx="4">
                  <c:v>0.0099981387375544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3892082401220382</c:v>
                </c:pt>
                <c:pt idx="2">
                  <c:v>0.0022626973304845977</c:v>
                </c:pt>
                <c:pt idx="3">
                  <c:v>0.07082899290952326</c:v>
                </c:pt>
                <c:pt idx="4">
                  <c:v>0.034948120081804764</c:v>
                </c:pt>
                <c:pt idx="5">
                  <c:v>0.010967174721128766</c:v>
                </c:pt>
                <c:pt idx="6">
                  <c:v>0.01009948855062579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882180229083612</c:v>
                </c:pt>
                <c:pt idx="3">
                  <c:v>0.0014744613874753702</c:v>
                </c:pt>
                <c:pt idx="4">
                  <c:v>0.007196439387230951</c:v>
                </c:pt>
                <c:pt idx="5">
                  <c:v>0.00404803515554834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97967522161519</c:v>
                </c:pt>
                <c:pt idx="3">
                  <c:v>0.005903625784275362</c:v>
                </c:pt>
                <c:pt idx="4">
                  <c:v>0.004540235142952716</c:v>
                </c:pt>
                <c:pt idx="5">
                  <c:v>0.002231189555918064</c:v>
                </c:pt>
                <c:pt idx="7">
                  <c:v>0.000523624285532255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938144675381161</c:v>
                </c:pt>
                <c:pt idx="3">
                  <c:v>0.005664587693681947</c:v>
                </c:pt>
                <c:pt idx="4">
                  <c:v>0.004483872004276624</c:v>
                </c:pt>
                <c:pt idx="5">
                  <c:v>0.00148134183113061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419235138340387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51503076334415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90603183991866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974076669129008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600901505275316</c:v>
                </c:pt>
                <c:pt idx="7">
                  <c:v>0.00967502740267435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965550859312224</c:v>
                </c:pt>
                <c:pt idx="5">
                  <c:v>0.006359536680488416</c:v>
                </c:pt>
                <c:pt idx="6">
                  <c:v>0.00079865700926967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26179046917774</c:v>
                </c:pt>
                <c:pt idx="1">
                  <c:v>0.001298165766080048</c:v>
                </c:pt>
                <c:pt idx="3">
                  <c:v>0.0234436095610927</c:v>
                </c:pt>
                <c:pt idx="4">
                  <c:v>0.02871968060320376</c:v>
                </c:pt>
                <c:pt idx="5">
                  <c:v>0.009543126231062257</c:v>
                </c:pt>
                <c:pt idx="6">
                  <c:v>0.1776486528142096</c:v>
                </c:pt>
                <c:pt idx="7">
                  <c:v>0.05029000176707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600901505275316</c:v>
                </c:pt>
                <c:pt idx="7">
                  <c:v>0.00967502740267435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252845746087656</c:v>
                </c:pt>
                <c:pt idx="5">
                  <c:v>0.0038801146641625154</c:v>
                </c:pt>
                <c:pt idx="6">
                  <c:v>0.04465945769928144</c:v>
                </c:pt>
                <c:pt idx="7">
                  <c:v>0.0034939330623618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27982255215943</c:v>
                </c:pt>
                <c:pt idx="6">
                  <c:v>0.007370334043009718</c:v>
                </c:pt>
                <c:pt idx="7">
                  <c:v>0.00185553132991541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37598187255384</c:v>
                </c:pt>
                <c:pt idx="3">
                  <c:v>0.0029965371756541077</c:v>
                </c:pt>
                <c:pt idx="4">
                  <c:v>0.007921312641282966</c:v>
                </c:pt>
                <c:pt idx="5">
                  <c:v>0.004604348865356446</c:v>
                </c:pt>
                <c:pt idx="6">
                  <c:v>0.003888410898757432</c:v>
                </c:pt>
                <c:pt idx="7">
                  <c:v>0.00683889529391414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0219208524728338</c:v>
                </c:pt>
                <c:pt idx="3">
                  <c:v>0.001404224108393675</c:v>
                </c:pt>
                <c:pt idx="5">
                  <c:v>0.00148219848263213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252845746087656</c:v>
                </c:pt>
                <c:pt idx="5">
                  <c:v>0.0038801146641625154</c:v>
                </c:pt>
                <c:pt idx="6">
                  <c:v>0.04465945769928144</c:v>
                </c:pt>
                <c:pt idx="7">
                  <c:v>0.0034939330623618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876142041570743</c:v>
                </c:pt>
                <c:pt idx="3">
                  <c:v>0.0014989894628650961</c:v>
                </c:pt>
                <c:pt idx="4">
                  <c:v>0.00139544584826581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33180969863962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92048571935517</c:v>
                </c:pt>
                <c:pt idx="2">
                  <c:v>0.012018596096120458</c:v>
                </c:pt>
                <c:pt idx="3">
                  <c:v>0.0025046441168625785</c:v>
                </c:pt>
                <c:pt idx="4">
                  <c:v>0.0030826970764057326</c:v>
                </c:pt>
                <c:pt idx="5">
                  <c:v>0.0011310861471128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2018596096120458</c:v>
                </c:pt>
                <c:pt idx="3">
                  <c:v>0.0015729877627101412</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12293168935941288</c:v>
                </c:pt>
                <c:pt idx="4">
                  <c:v>0.0010801935146830578</c:v>
                </c:pt>
                <c:pt idx="5">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291276367795251</c:v>
                </c:pt>
                <c:pt idx="4">
                  <c:v>0.001080193514683057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9583176918189947</c:v>
                </c:pt>
                <c:pt idx="4">
                  <c:v>0.004398120323670108</c:v>
                </c:pt>
                <c:pt idx="5">
                  <c:v>0.00127823754786157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4926833175111674</c:v>
                </c:pt>
                <c:pt idx="4">
                  <c:v>0.0043701139785028275</c:v>
                </c:pt>
                <c:pt idx="5">
                  <c:v>0.001227299105191087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29168342665075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168096101380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27982255215943</c:v>
                </c:pt>
                <c:pt idx="6">
                  <c:v>0.007370334043009718</c:v>
                </c:pt>
                <c:pt idx="7">
                  <c:v>0.00185553132991541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12293168935941288</c:v>
                </c:pt>
                <c:pt idx="4">
                  <c:v>0.0010801935146830578</c:v>
                </c:pt>
                <c:pt idx="5">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291276367795251</c:v>
                </c:pt>
                <c:pt idx="4">
                  <c:v>0.0010801935146830578</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73826293649317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23051170738093</c:v>
                </c:pt>
                <c:pt idx="2">
                  <c:v>0.008792225216612742</c:v>
                </c:pt>
                <c:pt idx="3">
                  <c:v>0.036974099741811456</c:v>
                </c:pt>
                <c:pt idx="4">
                  <c:v>0.024291059319100666</c:v>
                </c:pt>
                <c:pt idx="5">
                  <c:v>0.007987378587278375</c:v>
                </c:pt>
                <c:pt idx="6">
                  <c:v>0.04382766953144703</c:v>
                </c:pt>
                <c:pt idx="7">
                  <c:v>0.0162044802891584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879074764474702</c:v>
                </c:pt>
                <c:pt idx="3">
                  <c:v>0.00220088036619194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6301517660060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4201184562453935</c:v>
                </c:pt>
                <c:pt idx="4">
                  <c:v>0.0098103642830607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300302457226215</c:v>
                </c:pt>
                <c:pt idx="2">
                  <c:v>0.0024647362022833207</c:v>
                </c:pt>
                <c:pt idx="3">
                  <c:v>0.07252570235351108</c:v>
                </c:pt>
                <c:pt idx="4">
                  <c:v>0.032154543743259774</c:v>
                </c:pt>
                <c:pt idx="5">
                  <c:v>0.011912412690237186</c:v>
                </c:pt>
                <c:pt idx="6">
                  <c:v>0.01094768724518626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37598187255384</c:v>
                </c:pt>
                <c:pt idx="3">
                  <c:v>0.0029965371756541077</c:v>
                </c:pt>
                <c:pt idx="4">
                  <c:v>0.007921312641282966</c:v>
                </c:pt>
                <c:pt idx="5">
                  <c:v>0.004604348865356446</c:v>
                </c:pt>
                <c:pt idx="6">
                  <c:v>0.003888410898757432</c:v>
                </c:pt>
                <c:pt idx="7">
                  <c:v>0.00683889529391414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9682071049111714</c:v>
                </c:pt>
                <c:pt idx="3">
                  <c:v>0.001559893127263325</c:v>
                </c:pt>
                <c:pt idx="4">
                  <c:v>0.007573436591274329</c:v>
                </c:pt>
                <c:pt idx="5">
                  <c:v>0.00439471673516906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311358841272083</c:v>
                </c:pt>
                <c:pt idx="3">
                  <c:v>0.006364406487339571</c:v>
                </c:pt>
                <c:pt idx="4">
                  <c:v>0.004225637019849351</c:v>
                </c:pt>
                <c:pt idx="5">
                  <c:v>0.0024202792236746764</c:v>
                </c:pt>
                <c:pt idx="7">
                  <c:v>0.00056713550549836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265703801173375</c:v>
                </c:pt>
                <c:pt idx="3">
                  <c:v>0.006115026155057497</c:v>
                </c:pt>
                <c:pt idx="4">
                  <c:v>0.0041636990314701085</c:v>
                </c:pt>
                <c:pt idx="5">
                  <c:v>0.001596009281238551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522686288268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64218880059365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621029806400299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3076866107340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727800153864167</c:v>
                </c:pt>
                <c:pt idx="5">
                  <c:v>0.0066869816057425376</c:v>
                </c:pt>
                <c:pt idx="6">
                  <c:v>0.00086150973371730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18726410917349</c:v>
                </c:pt>
                <c:pt idx="1">
                  <c:v>0.0014270974400183288</c:v>
                </c:pt>
                <c:pt idx="3">
                  <c:v>0.024501431586253543</c:v>
                </c:pt>
                <c:pt idx="4">
                  <c:v>0.024246147121892225</c:v>
                </c:pt>
                <c:pt idx="5">
                  <c:v>0.0071913875964825435</c:v>
                </c:pt>
                <c:pt idx="6">
                  <c:v>0.17100265493308037</c:v>
                </c:pt>
                <c:pt idx="7">
                  <c:v>0.0539130795784911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0219208524728338</c:v>
                </c:pt>
                <c:pt idx="3">
                  <c:v>0.001404224108393675</c:v>
                </c:pt>
                <c:pt idx="5">
                  <c:v>0.00148219848263213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94191782647606</c:v>
                </c:pt>
                <c:pt idx="7">
                  <c:v>0.0102052245897554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270974253293454</c:v>
                </c:pt>
                <c:pt idx="5">
                  <c:v>0.003986173290414622</c:v>
                </c:pt>
                <c:pt idx="6">
                  <c:v>0.0445133339438448</c:v>
                </c:pt>
                <c:pt idx="7">
                  <c:v>0.003474968398645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6581820135669217</c:v>
                </c:pt>
                <c:pt idx="6">
                  <c:v>0.007980159161629585</c:v>
                </c:pt>
                <c:pt idx="7">
                  <c:v>0.0020360405910451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5891216671411186</c:v>
                </c:pt>
                <c:pt idx="3">
                  <c:v>0.00323574416959228</c:v>
                </c:pt>
                <c:pt idx="4">
                  <c:v>0.008020558063673099</c:v>
                </c:pt>
                <c:pt idx="5">
                  <c:v>0.004842848250066467</c:v>
                </c:pt>
                <c:pt idx="6">
                  <c:v>0.003950885595120405</c:v>
                </c:pt>
                <c:pt idx="7">
                  <c:v>0.00741108722839353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1107216323195535</c:v>
                </c:pt>
                <c:pt idx="3">
                  <c:v>0.001542817813233173</c:v>
                </c:pt>
                <c:pt idx="5">
                  <c:v>0.001519628804289572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209865797989455</c:v>
                </c:pt>
                <c:pt idx="3">
                  <c:v>0.0016302768615881701</c:v>
                </c:pt>
                <c:pt idx="4">
                  <c:v>0.001512322643689376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861009940347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4204132529567627</c:v>
                </c:pt>
                <c:pt idx="2">
                  <c:v>0.0124836012360777</c:v>
                </c:pt>
                <c:pt idx="3">
                  <c:v>0.0027319075518397284</c:v>
                </c:pt>
                <c:pt idx="4">
                  <c:v>0.003028618027943307</c:v>
                </c:pt>
                <c:pt idx="5">
                  <c:v>0.001068393856872839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24836012360777</c:v>
                </c:pt>
                <c:pt idx="3">
                  <c:v>0.00170775103829536</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13110557277980344</c:v>
                </c:pt>
                <c:pt idx="4">
                  <c:v>0.001178510312856369</c:v>
                </c:pt>
                <c:pt idx="5">
                  <c:v>0.00316493515421538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816872511485935</c:v>
                </c:pt>
                <c:pt idx="4">
                  <c:v>0.001178510312856369</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1061017175161346</c:v>
                </c:pt>
                <c:pt idx="4">
                  <c:v>0.004787746374808834</c:v>
                </c:pt>
                <c:pt idx="5">
                  <c:v>0.00140517895821774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687093840769657</c:v>
                </c:pt>
                <c:pt idx="4">
                  <c:v>0.0047575279177390385</c:v>
                </c:pt>
                <c:pt idx="5">
                  <c:v>0.001349190427924607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31259213533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13110557277980344</c:v>
                </c:pt>
                <c:pt idx="4">
                  <c:v>0.001178510312856369</c:v>
                </c:pt>
                <c:pt idx="5">
                  <c:v>0.00316493515421538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816872511485935</c:v>
                </c:pt>
                <c:pt idx="4">
                  <c:v>0.001178510312856369</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733482467670795</c:v>
                </c:pt>
                <c:pt idx="2">
                  <c:v>0.0026266784789265667</c:v>
                </c:pt>
                <c:pt idx="3">
                  <c:v>0.01605612537045115</c:v>
                </c:pt>
                <c:pt idx="4">
                  <c:v>0.008405114033776414</c:v>
                </c:pt>
                <c:pt idx="5">
                  <c:v>0.004058665314781663</c:v>
                </c:pt>
                <c:pt idx="6">
                  <c:v>0.021563473466497434</c:v>
                </c:pt>
                <c:pt idx="7">
                  <c:v>0.0088874747934107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26260918943118022</c:v>
                </c:pt>
                <c:pt idx="3">
                  <c:v>0.001332045298022895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675777857676648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6659833703072</c:v>
                </c:pt>
                <c:pt idx="4">
                  <c:v>0.00448667688816899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4524820523728823</c:v>
                </c:pt>
                <c:pt idx="2">
                  <c:v>0.001458216902943582</c:v>
                </c:pt>
                <c:pt idx="3">
                  <c:v>0.02897494611144492</c:v>
                </c:pt>
                <c:pt idx="4">
                  <c:v>0.022034651177659122</c:v>
                </c:pt>
                <c:pt idx="5">
                  <c:v>0.004727195051397662</c:v>
                </c:pt>
                <c:pt idx="6">
                  <c:v>0.0125492255069227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66764602767385</c:v>
                </c:pt>
                <c:pt idx="4">
                  <c:v>0.006016710718355842</c:v>
                </c:pt>
                <c:pt idx="5">
                  <c:v>0.003825394342065798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057705778171167</c:v>
                </c:pt>
                <c:pt idx="4">
                  <c:v>0.00231060771809525</c:v>
                </c:pt>
                <c:pt idx="5">
                  <c:v>0.0006190284850021856</c:v>
                </c:pt>
                <c:pt idx="7">
                  <c:v>0.00088877803166313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4822205783919197</c:v>
                </c:pt>
                <c:pt idx="4">
                  <c:v>0.002200086689917436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8224680107053819</c:v>
                </c:pt>
                <c:pt idx="7">
                  <c:v>0.00162141073342252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876142041570743</c:v>
                </c:pt>
                <c:pt idx="3">
                  <c:v>0.0014989894628650961</c:v>
                </c:pt>
                <c:pt idx="4">
                  <c:v>0.00139544584826581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977208964186282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674663688375724</c:v>
                </c:pt>
                <c:pt idx="5">
                  <c:v>0.009843407028655944</c:v>
                </c:pt>
                <c:pt idx="6">
                  <c:v>0.00113348266176790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678503899595548</c:v>
                </c:pt>
                <c:pt idx="1">
                  <c:v>0.0018298155106818536</c:v>
                </c:pt>
                <c:pt idx="3">
                  <c:v>0.02746659744082927</c:v>
                </c:pt>
                <c:pt idx="4">
                  <c:v>0.021655523319572014</c:v>
                </c:pt>
                <c:pt idx="5">
                  <c:v>0.007413617298143259</c:v>
                </c:pt>
                <c:pt idx="6">
                  <c:v>0.2551609501618002</c:v>
                </c:pt>
                <c:pt idx="7">
                  <c:v>0.0611661266796680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720752483244313</c:v>
                </c:pt>
                <c:pt idx="7">
                  <c:v>0.0165714127469803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62315907707282</c:v>
                </c:pt>
                <c:pt idx="3">
                  <c:v>0.0006178717900639643</c:v>
                </c:pt>
                <c:pt idx="5">
                  <c:v>0.006213813133335783</c:v>
                </c:pt>
                <c:pt idx="6">
                  <c:v>0.07045508594291316</c:v>
                </c:pt>
                <c:pt idx="7">
                  <c:v>0.0054147945290344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318006671776466</c:v>
                </c:pt>
                <c:pt idx="6">
                  <c:v>0.013600198927167392</c:v>
                </c:pt>
                <c:pt idx="7">
                  <c:v>0.00349354670159157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790923566882478</c:v>
                </c:pt>
                <c:pt idx="3">
                  <c:v>0.004720694196203222</c:v>
                </c:pt>
                <c:pt idx="4">
                  <c:v>0.011704925565687276</c:v>
                </c:pt>
                <c:pt idx="5">
                  <c:v>0.006229696846261716</c:v>
                </c:pt>
                <c:pt idx="6">
                  <c:v>0.005820153951872868</c:v>
                </c:pt>
                <c:pt idx="7">
                  <c:v>0.0033643962452697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33180969863962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910760716935357</c:v>
                </c:pt>
                <c:pt idx="3">
                  <c:v>0.0018538000819429254</c:v>
                </c:pt>
                <c:pt idx="5">
                  <c:v>0.00173077606510401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33806811121813</c:v>
                </c:pt>
                <c:pt idx="3">
                  <c:v>0.002628847094727876</c:v>
                </c:pt>
                <c:pt idx="4">
                  <c:v>0.002435391488778450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2441015612142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7099938304877336</c:v>
                </c:pt>
                <c:pt idx="3">
                  <c:v>0.0011170762645086412</c:v>
                </c:pt>
                <c:pt idx="4">
                  <c:v>0.001477825802588982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7099938304877336</c:v>
                </c:pt>
                <c:pt idx="3">
                  <c:v>0.0007093610180131159</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982406371455527</c:v>
                </c:pt>
                <c:pt idx="5">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29063931147271</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01184050249328</c:v>
                </c:pt>
                <c:pt idx="5">
                  <c:v>0.002076521517570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2941523971830146</c:v>
                </c:pt>
                <c:pt idx="5">
                  <c:v>0.002076521517570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92048571935517</c:v>
                </c:pt>
                <c:pt idx="2">
                  <c:v>0.012018596096120458</c:v>
                </c:pt>
                <c:pt idx="3">
                  <c:v>0.0025046441168625785</c:v>
                </c:pt>
                <c:pt idx="4">
                  <c:v>0.0030826970764057326</c:v>
                </c:pt>
                <c:pt idx="5">
                  <c:v>0.0011310861471128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1997680511640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982406371455527</c:v>
                </c:pt>
                <c:pt idx="5">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29063931147271</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802447120148726</c:v>
                </c:pt>
                <c:pt idx="2">
                  <c:v>0.04241814294214397</c:v>
                </c:pt>
                <c:pt idx="3">
                  <c:v>0.036825612288710195</c:v>
                </c:pt>
                <c:pt idx="4">
                  <c:v>0.15466907169927666</c:v>
                </c:pt>
                <c:pt idx="5">
                  <c:v>0.05447975756684023</c:v>
                </c:pt>
                <c:pt idx="6">
                  <c:v>0.08782062059065275</c:v>
                </c:pt>
                <c:pt idx="7">
                  <c:v>0.0073094516871945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414138827757253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12293168935941288</c:v>
                </c:pt>
                <c:pt idx="4">
                  <c:v>0.0010801935146830578</c:v>
                </c:pt>
                <c:pt idx="5">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0058958992497093</c:v>
                </c:pt>
                <c:pt idx="4">
                  <c:v>0.0470568817713853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8084647817545414</c:v>
                </c:pt>
                <c:pt idx="3">
                  <c:v>0.05143677585409391</c:v>
                </c:pt>
                <c:pt idx="4">
                  <c:v>0.1281257956743085</c:v>
                </c:pt>
                <c:pt idx="5">
                  <c:v>0.011481727388128042</c:v>
                </c:pt>
                <c:pt idx="6">
                  <c:v>0.000862270577499066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7756166333761789</c:v>
                </c:pt>
                <c:pt idx="5">
                  <c:v>0.00723081682353610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1413251622228063</c:v>
                </c:pt>
                <c:pt idx="4">
                  <c:v>0.006030627780695943</c:v>
                </c:pt>
                <c:pt idx="5">
                  <c:v>0.00443634681334110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784464830906318</c:v>
                </c:pt>
                <c:pt idx="4">
                  <c:v>0.006030627780695943</c:v>
                </c:pt>
                <c:pt idx="5">
                  <c:v>0.00443634681334110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1624622614493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06001892568146036</c:v>
                </c:pt>
                <c:pt idx="5">
                  <c:v>0.0029201725223743876</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435298747451548</c:v>
                </c:pt>
                <c:pt idx="4">
                  <c:v>0.0109953162984658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2214049764099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5623156359541738</c:v>
                </c:pt>
                <c:pt idx="4">
                  <c:v>0.07652827914762202</c:v>
                </c:pt>
                <c:pt idx="5">
                  <c:v>0.06008920409150242</c:v>
                </c:pt>
                <c:pt idx="6">
                  <c:v>0.0776849816347099</c:v>
                </c:pt>
                <c:pt idx="7">
                  <c:v>0.00140230178728148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598662337586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2171979513603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86358714294844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9583176918189947</c:v>
                </c:pt>
                <c:pt idx="4">
                  <c:v>0.004398120323670108</c:v>
                </c:pt>
                <c:pt idx="5">
                  <c:v>0.00127823754786157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27626697681225</c:v>
                </c:pt>
                <c:pt idx="3">
                  <c:v>0.0015020415940527627</c:v>
                </c:pt>
                <c:pt idx="4">
                  <c:v>0.022418197200598854</c:v>
                </c:pt>
                <c:pt idx="5">
                  <c:v>0.00381999470341730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27626697681225</c:v>
                </c:pt>
                <c:pt idx="3">
                  <c:v>0.0015020415940527627</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3">
                  <c:v>0.006032822056444911</c:v>
                </c:pt>
                <c:pt idx="5">
                  <c:v>0.0036407822186106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6032822056444911</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564617311527073</c:v>
                </c:pt>
                <c:pt idx="4">
                  <c:v>0.0018312228523206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6504192383245978</c:v>
                </c:pt>
                <c:pt idx="4">
                  <c:v>0.001749994753686163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484190721979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3">
                  <c:v>0.006032822056444911</c:v>
                </c:pt>
                <c:pt idx="5">
                  <c:v>0.0036407822186106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6032822056444911</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7140862693806515</c:v>
                </c:pt>
                <c:pt idx="5">
                  <c:v>0.001416548887652322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5467109666794896</c:v>
                </c:pt>
                <c:pt idx="2">
                  <c:v>0.016679697501039568</c:v>
                </c:pt>
                <c:pt idx="3">
                  <c:v>0.06367211657314265</c:v>
                </c:pt>
                <c:pt idx="4">
                  <c:v>0.044652764939891024</c:v>
                </c:pt>
                <c:pt idx="5">
                  <c:v>0.012691240327700588</c:v>
                </c:pt>
                <c:pt idx="6">
                  <c:v>0.07209431706680018</c:v>
                </c:pt>
                <c:pt idx="7">
                  <c:v>0.0255482727422910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667707745759131</c:v>
                </c:pt>
                <c:pt idx="3">
                  <c:v>0.003316742736665270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712897997361814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4156095925046042</c:v>
                </c:pt>
                <c:pt idx="4">
                  <c:v>0.0166122527586364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38981527751852436</c:v>
                </c:pt>
                <c:pt idx="2">
                  <c:v>0.003746810808584562</c:v>
                </c:pt>
                <c:pt idx="3">
                  <c:v>0.12814624465356717</c:v>
                </c:pt>
                <c:pt idx="4">
                  <c:v>0.044432158047269084</c:v>
                </c:pt>
                <c:pt idx="5">
                  <c:v>0.02111370180474106</c:v>
                </c:pt>
                <c:pt idx="6">
                  <c:v>0.0089274145511306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94357163802176</c:v>
                </c:pt>
                <c:pt idx="3">
                  <c:v>0.0033134724681138034</c:v>
                </c:pt>
                <c:pt idx="4">
                  <c:v>0.00958169733974801</c:v>
                </c:pt>
                <c:pt idx="5">
                  <c:v>0.00512121502755029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71946008697023</c:v>
                </c:pt>
                <c:pt idx="3">
                  <c:v>0.008050068180345444</c:v>
                </c:pt>
                <c:pt idx="4">
                  <c:v>0.0066824067765569465</c:v>
                </c:pt>
                <c:pt idx="5">
                  <c:v>0.00472862582848377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161533665059506</c:v>
                </c:pt>
                <c:pt idx="3">
                  <c:v>0.0077823356012198</c:v>
                </c:pt>
                <c:pt idx="4">
                  <c:v>0.0066824067765569465</c:v>
                </c:pt>
                <c:pt idx="5">
                  <c:v>0.003639968423078112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97170924814538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29168342665075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971709248145389</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2569911003466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33393672521307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16354904893367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6278115184695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709123169444685</c:v>
                </c:pt>
                <c:pt idx="4">
                  <c:v>0.000794071614289501</c:v>
                </c:pt>
                <c:pt idx="5">
                  <c:v>0.0026687873593565017</c:v>
                </c:pt>
                <c:pt idx="6">
                  <c:v>0.00051595776705384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2177578984700161</c:v>
                </c:pt>
                <c:pt idx="1">
                  <c:v>0.000915816852872929</c:v>
                </c:pt>
                <c:pt idx="3">
                  <c:v>0.020771119319009435</c:v>
                </c:pt>
                <c:pt idx="4">
                  <c:v>0.02757233798302179</c:v>
                </c:pt>
                <c:pt idx="5">
                  <c:v>0.006924719957045275</c:v>
                </c:pt>
                <c:pt idx="6">
                  <c:v>0.06384954571126632</c:v>
                </c:pt>
                <c:pt idx="7">
                  <c:v>0.04477406350764790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26564295728390405</c:v>
                </c:pt>
                <c:pt idx="7">
                  <c:v>0.002093069502419623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997586430779412</c:v>
                </c:pt>
                <c:pt idx="5">
                  <c:v>0.0011485770205838883</c:v>
                </c:pt>
                <c:pt idx="6">
                  <c:v>0.011463653618913253</c:v>
                </c:pt>
                <c:pt idx="7">
                  <c:v>0.00100399988365118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168096101380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08188210066870043</c:v>
                </c:pt>
                <c:pt idx="6">
                  <c:v>0.000816187563113949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07835563449315251</c:v>
                </c:pt>
                <c:pt idx="3">
                  <c:v>0.0013455869315407993</c:v>
                </c:pt>
                <c:pt idx="4">
                  <c:v>0.00331372515618139</c:v>
                </c:pt>
                <c:pt idx="5">
                  <c:v>0.0030819202259380492</c:v>
                </c:pt>
                <c:pt idx="6">
                  <c:v>0.0015712814048770471</c:v>
                </c:pt>
                <c:pt idx="7">
                  <c:v>0.0126015354256061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1490122055891761</c:v>
                </c:pt>
                <c:pt idx="5">
                  <c:v>0.001253312395991421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74938047941968</c:v>
                </c:pt>
                <c:pt idx="2">
                  <c:v>0.008738864593341474</c:v>
                </c:pt>
                <c:pt idx="3">
                  <c:v>0.035415936296077685</c:v>
                </c:pt>
                <c:pt idx="4">
                  <c:v>0.03095362895361869</c:v>
                </c:pt>
                <c:pt idx="5">
                  <c:v>0.00910992856120229</c:v>
                </c:pt>
                <c:pt idx="6">
                  <c:v>0.04388171510091246</c:v>
                </c:pt>
                <c:pt idx="7">
                  <c:v>0.0151031591763316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1229582051179614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0044432567708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2394623026617223</c:v>
                </c:pt>
                <c:pt idx="2">
                  <c:v>0.01930968320379556</c:v>
                </c:pt>
                <c:pt idx="3">
                  <c:v>0.004797238296047686</c:v>
                </c:pt>
                <c:pt idx="4">
                  <c:v>0.00501818146799189</c:v>
                </c:pt>
                <c:pt idx="5">
                  <c:v>0.00243331270922252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930968320379556</c:v>
                </c:pt>
                <c:pt idx="3">
                  <c:v>0.002987998113139913</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17343280614366675</c:v>
                </c:pt>
                <c:pt idx="3">
                  <c:v>0.0008031147842234313</c:v>
                </c:pt>
                <c:pt idx="4">
                  <c:v>0.0026627260362403287</c:v>
                </c:pt>
                <c:pt idx="5">
                  <c:v>0.00551021235507024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0062500836550648</c:v>
                </c:pt>
                <c:pt idx="3">
                  <c:v>0.0006723321186167</c:v>
                </c:pt>
                <c:pt idx="4">
                  <c:v>0.0026627260362403287</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62329380714864</c:v>
                </c:pt>
                <c:pt idx="1">
                  <c:v>0.1307210880876973</c:v>
                </c:pt>
                <c:pt idx="2">
                  <c:v>0.07109906005240599</c:v>
                </c:pt>
                <c:pt idx="3">
                  <c:v>0.2764396051594939</c:v>
                </c:pt>
                <c:pt idx="4">
                  <c:v>0.16529054213716715</c:v>
                </c:pt>
                <c:pt idx="5">
                  <c:v>0.06296086511471766</c:v>
                </c:pt>
                <c:pt idx="6">
                  <c:v>0.18383903075172306</c:v>
                </c:pt>
                <c:pt idx="7">
                  <c:v>0.1037874793160801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12293168935941288</c:v>
                </c:pt>
                <c:pt idx="4">
                  <c:v>0.0010801935146830578</c:v>
                </c:pt>
                <c:pt idx="5">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3488328144175419</c:v>
                </c:pt>
                <c:pt idx="1">
                  <c:v>0.12114250160819365</c:v>
                </c:pt>
                <c:pt idx="2">
                  <c:v>0.06889813844343272</c:v>
                </c:pt>
                <c:pt idx="3">
                  <c:v>0.2805879716201998</c:v>
                </c:pt>
                <c:pt idx="4">
                  <c:v>0.16757090878952113</c:v>
                </c:pt>
                <c:pt idx="5">
                  <c:v>0.06543388777111145</c:v>
                </c:pt>
                <c:pt idx="6">
                  <c:v>0.1862443738491271</c:v>
                </c:pt>
                <c:pt idx="7">
                  <c:v>0.10663388977423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247755703708243</c:v>
                </c:pt>
                <c:pt idx="4">
                  <c:v>0.0103110163605161</c:v>
                </c:pt>
                <c:pt idx="5">
                  <c:v>0.00055046053599947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1958506393605372</c:v>
                </c:pt>
                <c:pt idx="4">
                  <c:v>0.01024209888058777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15218952066543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915218952066543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12949779527874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05707947787069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783775790479997</c:v>
                </c:pt>
                <c:pt idx="2">
                  <c:v>0.017343280614366675</c:v>
                </c:pt>
                <c:pt idx="3">
                  <c:v>0.0008031147842234313</c:v>
                </c:pt>
                <c:pt idx="4">
                  <c:v>0.0026627260362403287</c:v>
                </c:pt>
                <c:pt idx="5">
                  <c:v>0.00551021235507024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06001892568146036</c:v>
                </c:pt>
                <c:pt idx="5">
                  <c:v>0.0029201725223743876</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10062500836550648</c:v>
                </c:pt>
                <c:pt idx="3">
                  <c:v>0.0006723321186167</c:v>
                </c:pt>
                <c:pt idx="4">
                  <c:v>0.0026627260362403287</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84819771557986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74938047941968</c:v>
                </c:pt>
                <c:pt idx="2">
                  <c:v>0.008738864593341474</c:v>
                </c:pt>
                <c:pt idx="3">
                  <c:v>0.035415936296077685</c:v>
                </c:pt>
                <c:pt idx="4">
                  <c:v>0.03095362895361869</c:v>
                </c:pt>
                <c:pt idx="5">
                  <c:v>0.00910992856120229</c:v>
                </c:pt>
                <c:pt idx="6">
                  <c:v>0.04388171510091246</c:v>
                </c:pt>
                <c:pt idx="7">
                  <c:v>0.0151031591763316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21171641815794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3047625076779966</c:v>
                </c:pt>
                <c:pt idx="4">
                  <c:v>0.0099981387375544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3892082401220382</c:v>
                </c:pt>
                <c:pt idx="2">
                  <c:v>0.0022626973304845977</c:v>
                </c:pt>
                <c:pt idx="3">
                  <c:v>0.07082899290952326</c:v>
                </c:pt>
                <c:pt idx="4">
                  <c:v>0.034948120081804764</c:v>
                </c:pt>
                <c:pt idx="5">
                  <c:v>0.010967174721128766</c:v>
                </c:pt>
                <c:pt idx="6">
                  <c:v>0.01009948855062579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136462010928823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497967522161519</c:v>
                </c:pt>
                <c:pt idx="3">
                  <c:v>0.005903625784275362</c:v>
                </c:pt>
                <c:pt idx="4">
                  <c:v>0.004540235142952716</c:v>
                </c:pt>
                <c:pt idx="5">
                  <c:v>0.002231189555918064</c:v>
                </c:pt>
                <c:pt idx="7">
                  <c:v>0.000523624285532255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419235138340387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51503076334415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974076669129008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73826293649317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9965550859312224</c:v>
                </c:pt>
                <c:pt idx="5">
                  <c:v>0.006359536680488416</c:v>
                </c:pt>
                <c:pt idx="6">
                  <c:v>0.000798657009269674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326179046917774</c:v>
                </c:pt>
                <c:pt idx="1">
                  <c:v>0.001298165766080048</c:v>
                </c:pt>
                <c:pt idx="3">
                  <c:v>0.0234436095610927</c:v>
                </c:pt>
                <c:pt idx="4">
                  <c:v>0.02871968060320376</c:v>
                </c:pt>
                <c:pt idx="5">
                  <c:v>0.009543126231062257</c:v>
                </c:pt>
                <c:pt idx="6">
                  <c:v>0.1776486528142096</c:v>
                </c:pt>
                <c:pt idx="7">
                  <c:v>0.050290001767071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600901505275316</c:v>
                </c:pt>
                <c:pt idx="7">
                  <c:v>0.00967502740267435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8252845746087656</c:v>
                </c:pt>
                <c:pt idx="5">
                  <c:v>0.0038801146641625154</c:v>
                </c:pt>
                <c:pt idx="6">
                  <c:v>0.04465945769928144</c:v>
                </c:pt>
                <c:pt idx="7">
                  <c:v>0.0034939330623618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527982255215943</c:v>
                </c:pt>
                <c:pt idx="6">
                  <c:v>0.007370334043009718</c:v>
                </c:pt>
                <c:pt idx="7">
                  <c:v>0.00185553132991541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37598187255384</c:v>
                </c:pt>
                <c:pt idx="3">
                  <c:v>0.0029965371756541077</c:v>
                </c:pt>
                <c:pt idx="4">
                  <c:v>0.007921312641282966</c:v>
                </c:pt>
                <c:pt idx="5">
                  <c:v>0.004604348865356446</c:v>
                </c:pt>
                <c:pt idx="6">
                  <c:v>0.003888410898757432</c:v>
                </c:pt>
                <c:pt idx="7">
                  <c:v>0.00683889529391414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0219208524728338</c:v>
                </c:pt>
                <c:pt idx="3">
                  <c:v>0.001404224108393675</c:v>
                </c:pt>
                <c:pt idx="5">
                  <c:v>0.00148219848263213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4876142041570743</c:v>
                </c:pt>
                <c:pt idx="3">
                  <c:v>0.0014989894628650961</c:v>
                </c:pt>
                <c:pt idx="4">
                  <c:v>0.00139544584826581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33180969863962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292048571935517</c:v>
                </c:pt>
                <c:pt idx="2">
                  <c:v>0.012018596096120458</c:v>
                </c:pt>
                <c:pt idx="3">
                  <c:v>0.0025046441168625785</c:v>
                </c:pt>
                <c:pt idx="4">
                  <c:v>0.0030826970764057326</c:v>
                </c:pt>
                <c:pt idx="5">
                  <c:v>0.0011310861471128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12293168935941288</c:v>
                </c:pt>
                <c:pt idx="4">
                  <c:v>0.0010801935146830578</c:v>
                </c:pt>
                <c:pt idx="5">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816518144759626</c:v>
                </c:pt>
                <c:pt idx="1">
                  <c:v>0.10259212167398468</c:v>
                </c:pt>
                <c:pt idx="2">
                  <c:v>0.044696005610716065</c:v>
                </c:pt>
                <c:pt idx="3">
                  <c:v>0.1803136678177994</c:v>
                </c:pt>
                <c:pt idx="4">
                  <c:v>0.12770096230532801</c:v>
                </c:pt>
                <c:pt idx="5">
                  <c:v>0.05346036536462908</c:v>
                </c:pt>
                <c:pt idx="6">
                  <c:v>0.3707715893465016</c:v>
                </c:pt>
                <c:pt idx="7">
                  <c:v>0.108648769736281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0234695694610064</c:v>
                </c:pt>
                <c:pt idx="1">
                  <c:v>0.0958160655331802</c:v>
                </c:pt>
                <c:pt idx="2">
                  <c:v>0.04033257280893811</c:v>
                </c:pt>
                <c:pt idx="3">
                  <c:v>0.18244703884368935</c:v>
                </c:pt>
                <c:pt idx="4">
                  <c:v>0.12969967090969065</c:v>
                </c:pt>
                <c:pt idx="5">
                  <c:v>0.05528966526922078</c:v>
                </c:pt>
                <c:pt idx="6">
                  <c:v>0.3750608238154285</c:v>
                </c:pt>
                <c:pt idx="7">
                  <c:v>0.111119467125242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9583176918189947</c:v>
                </c:pt>
                <c:pt idx="4">
                  <c:v>0.004398120323670108</c:v>
                </c:pt>
                <c:pt idx="5">
                  <c:v>0.00127823754786157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529168342665075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168096101380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23051170738093</c:v>
                </c:pt>
                <c:pt idx="2">
                  <c:v>0.008792225216612742</c:v>
                </c:pt>
                <c:pt idx="3">
                  <c:v>0.036974099741811456</c:v>
                </c:pt>
                <c:pt idx="4">
                  <c:v>0.024291059319100666</c:v>
                </c:pt>
                <c:pt idx="5">
                  <c:v>0.007987378587278375</c:v>
                </c:pt>
                <c:pt idx="6">
                  <c:v>0.04382766953144703</c:v>
                </c:pt>
                <c:pt idx="7">
                  <c:v>0.0162044802891584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0738953955378052</c:v>
                </c:pt>
                <c:pt idx="2">
                  <c:v>0.012293168935941288</c:v>
                </c:pt>
                <c:pt idx="4">
                  <c:v>0.0010801935146830578</c:v>
                </c:pt>
                <c:pt idx="5">
                  <c:v>0.002920220368625809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5">
                  <c:v>0.000773826293649317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123051170738093</c:v>
                </c:pt>
                <c:pt idx="2">
                  <c:v>0.008792225216612742</c:v>
                </c:pt>
                <c:pt idx="3">
                  <c:v>0.036974099741811456</c:v>
                </c:pt>
                <c:pt idx="4">
                  <c:v>0.024291059319100666</c:v>
                </c:pt>
                <c:pt idx="5">
                  <c:v>0.007987378587278375</c:v>
                </c:pt>
                <c:pt idx="6">
                  <c:v>0.04382766953144703</c:v>
                </c:pt>
                <c:pt idx="7">
                  <c:v>0.01620448028915843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1695579341572346</c:v>
                </c:pt>
                <c:pt idx="4">
                  <c:v>0.00439759172439243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3080252267822753</c:v>
                </c:pt>
                <c:pt idx="4">
                  <c:v>0.00481670381760125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6301517660060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4201184562453935</c:v>
                </c:pt>
                <c:pt idx="4">
                  <c:v>0.0098103642830607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300302457226215</c:v>
                </c:pt>
                <c:pt idx="2">
                  <c:v>0.0024647362022833207</c:v>
                </c:pt>
                <c:pt idx="3">
                  <c:v>0.07252570235351108</c:v>
                </c:pt>
                <c:pt idx="4">
                  <c:v>0.032154543743259774</c:v>
                </c:pt>
                <c:pt idx="5">
                  <c:v>0.011912412690237186</c:v>
                </c:pt>
                <c:pt idx="6">
                  <c:v>0.01094768724518626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340616939581945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311358841272083</c:v>
                </c:pt>
                <c:pt idx="3">
                  <c:v>0.006364406487339571</c:v>
                </c:pt>
                <c:pt idx="4">
                  <c:v>0.004225637019849351</c:v>
                </c:pt>
                <c:pt idx="5">
                  <c:v>0.0024202792236746764</c:v>
                </c:pt>
                <c:pt idx="7">
                  <c:v>0.00056713550549836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522686288268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64218880059365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23076866107340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727800153864167</c:v>
                </c:pt>
                <c:pt idx="5">
                  <c:v>0.0066869816057425376</c:v>
                </c:pt>
                <c:pt idx="6">
                  <c:v>0.00086150973371730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818726410917349</c:v>
                </c:pt>
                <c:pt idx="1">
                  <c:v>0.0014270974400183288</c:v>
                </c:pt>
                <c:pt idx="3">
                  <c:v>0.024501431586253543</c:v>
                </c:pt>
                <c:pt idx="4">
                  <c:v>0.024246147121892225</c:v>
                </c:pt>
                <c:pt idx="5">
                  <c:v>0.0071913875964825435</c:v>
                </c:pt>
                <c:pt idx="6">
                  <c:v>0.17100265493308037</c:v>
                </c:pt>
                <c:pt idx="7">
                  <c:v>0.0539130795784911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46301517660060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8294191782647606</c:v>
                </c:pt>
                <c:pt idx="7">
                  <c:v>0.0102052245897554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9270974253293454</c:v>
                </c:pt>
                <c:pt idx="5">
                  <c:v>0.003986173290414622</c:v>
                </c:pt>
                <c:pt idx="6">
                  <c:v>0.0445133339438448</c:v>
                </c:pt>
                <c:pt idx="7">
                  <c:v>0.003474968398645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6581820135669217</c:v>
                </c:pt>
                <c:pt idx="6">
                  <c:v>0.007980159161629585</c:v>
                </c:pt>
                <c:pt idx="7">
                  <c:v>0.0020360405910451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5891216671411186</c:v>
                </c:pt>
                <c:pt idx="3">
                  <c:v>0.00323574416959228</c:v>
                </c:pt>
                <c:pt idx="4">
                  <c:v>0.008020558063673099</c:v>
                </c:pt>
                <c:pt idx="5">
                  <c:v>0.004842848250066467</c:v>
                </c:pt>
                <c:pt idx="6">
                  <c:v>0.003950885595120405</c:v>
                </c:pt>
                <c:pt idx="7">
                  <c:v>0.00741108722839353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1107216323195535</c:v>
                </c:pt>
                <c:pt idx="3">
                  <c:v>0.001542817813233173</c:v>
                </c:pt>
                <c:pt idx="5">
                  <c:v>0.001519628804289572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5209865797989455</c:v>
                </c:pt>
                <c:pt idx="3">
                  <c:v>0.0016302768615881701</c:v>
                </c:pt>
                <c:pt idx="4">
                  <c:v>0.001512322643689376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9861009940347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4204132529567627</c:v>
                </c:pt>
                <c:pt idx="2">
                  <c:v>0.0124836012360777</c:v>
                </c:pt>
                <c:pt idx="3">
                  <c:v>0.0027319075518397284</c:v>
                </c:pt>
                <c:pt idx="4">
                  <c:v>0.003028618027943307</c:v>
                </c:pt>
                <c:pt idx="5">
                  <c:v>0.001068393856872839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13110557277980344</c:v>
                </c:pt>
                <c:pt idx="4">
                  <c:v>0.001178510312856369</c:v>
                </c:pt>
                <c:pt idx="5">
                  <c:v>0.00316493515421538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1061017175161346</c:v>
                </c:pt>
                <c:pt idx="4">
                  <c:v>0.004787746374808834</c:v>
                </c:pt>
                <c:pt idx="5">
                  <c:v>0.00140517895821774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5031259213533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144114756484902</c:v>
                </c:pt>
                <c:pt idx="2">
                  <c:v>0.013110557277980344</c:v>
                </c:pt>
                <c:pt idx="4">
                  <c:v>0.001178510312856369</c:v>
                </c:pt>
                <c:pt idx="5">
                  <c:v>0.003164935154215380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24201184562453935</c:v>
                </c:pt>
                <c:pt idx="4">
                  <c:v>0.0098103642830607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2733482467670795</c:v>
                </c:pt>
                <c:pt idx="2">
                  <c:v>0.0026266784789265667</c:v>
                </c:pt>
                <c:pt idx="3">
                  <c:v>0.01605612537045115</c:v>
                </c:pt>
                <c:pt idx="4">
                  <c:v>0.008405114033776414</c:v>
                </c:pt>
                <c:pt idx="5">
                  <c:v>0.004058665314781663</c:v>
                </c:pt>
                <c:pt idx="6">
                  <c:v>0.021563473466497434</c:v>
                </c:pt>
                <c:pt idx="7">
                  <c:v>0.0088874747934107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675777857676648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06659833703072</c:v>
                </c:pt>
                <c:pt idx="4">
                  <c:v>0.00448667688816899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4524820523728823</c:v>
                </c:pt>
                <c:pt idx="2">
                  <c:v>0.001458216902943582</c:v>
                </c:pt>
                <c:pt idx="3">
                  <c:v>0.02897494611144492</c:v>
                </c:pt>
                <c:pt idx="4">
                  <c:v>0.022034651177659122</c:v>
                </c:pt>
                <c:pt idx="5">
                  <c:v>0.004727195051397662</c:v>
                </c:pt>
                <c:pt idx="6">
                  <c:v>0.0125492255069227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5057705778171167</c:v>
                </c:pt>
                <c:pt idx="4">
                  <c:v>0.00231060771809525</c:v>
                </c:pt>
                <c:pt idx="5">
                  <c:v>0.0006190284850021856</c:v>
                </c:pt>
                <c:pt idx="7">
                  <c:v>0.00088877803166313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008224680107053819</c:v>
                </c:pt>
                <c:pt idx="7">
                  <c:v>0.001621410733422529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5300302457226215</c:v>
                </c:pt>
                <c:pt idx="2">
                  <c:v>0.0024647362022833207</c:v>
                </c:pt>
                <c:pt idx="3">
                  <c:v>0.07252570235351108</c:v>
                </c:pt>
                <c:pt idx="4">
                  <c:v>0.032154543743259774</c:v>
                </c:pt>
                <c:pt idx="5">
                  <c:v>0.011912412690237186</c:v>
                </c:pt>
                <c:pt idx="6">
                  <c:v>0.01094768724518626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977208964186282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14674663688375724</c:v>
                </c:pt>
                <c:pt idx="5">
                  <c:v>0.009843407028655944</c:v>
                </c:pt>
                <c:pt idx="6">
                  <c:v>0.00113348266176790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678503899595548</c:v>
                </c:pt>
                <c:pt idx="1">
                  <c:v>0.0018298155106818536</c:v>
                </c:pt>
                <c:pt idx="3">
                  <c:v>0.02746659744082927</c:v>
                </c:pt>
                <c:pt idx="4">
                  <c:v>0.021655523319572014</c:v>
                </c:pt>
                <c:pt idx="5">
                  <c:v>0.007413617298143259</c:v>
                </c:pt>
                <c:pt idx="6">
                  <c:v>0.2551609501618002</c:v>
                </c:pt>
                <c:pt idx="7">
                  <c:v>0.0611661266796680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9331860888156083</c:v>
                </c:pt>
                <c:pt idx="2">
                  <c:v>0.0023844769942655063</c:v>
                </c:pt>
                <c:pt idx="3">
                  <c:v>0.012822927951288957</c:v>
                </c:pt>
                <c:pt idx="4">
                  <c:v>0.0033703758399054214</c:v>
                </c:pt>
                <c:pt idx="5">
                  <c:v>0.0071735677608211305</c:v>
                </c:pt>
                <c:pt idx="6">
                  <c:v>0.000597937325063909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12720752483244313</c:v>
                </c:pt>
                <c:pt idx="7">
                  <c:v>0.01657141274698030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4362315907707282</c:v>
                </c:pt>
                <c:pt idx="3">
                  <c:v>0.0006178717900639643</c:v>
                </c:pt>
                <c:pt idx="5">
                  <c:v>0.006213813133335783</c:v>
                </c:pt>
                <c:pt idx="6">
                  <c:v>0.07045508594291316</c:v>
                </c:pt>
                <c:pt idx="7">
                  <c:v>0.005414794529034428</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318006671776466</c:v>
                </c:pt>
                <c:pt idx="6">
                  <c:v>0.013600198927167392</c:v>
                </c:pt>
                <c:pt idx="7">
                  <c:v>0.00349354670159157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790923566882478</c:v>
                </c:pt>
                <c:pt idx="3">
                  <c:v>0.004720694196203222</c:v>
                </c:pt>
                <c:pt idx="4">
                  <c:v>0.011704925565687276</c:v>
                </c:pt>
                <c:pt idx="5">
                  <c:v>0.006229696846261716</c:v>
                </c:pt>
                <c:pt idx="6">
                  <c:v>0.005820153951872868</c:v>
                </c:pt>
                <c:pt idx="7">
                  <c:v>0.0033643962452697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5311358841272083</c:v>
                </c:pt>
                <c:pt idx="3">
                  <c:v>0.006364406487339571</c:v>
                </c:pt>
                <c:pt idx="4">
                  <c:v>0.004225637019849351</c:v>
                </c:pt>
                <c:pt idx="5">
                  <c:v>0.0024202792236746764</c:v>
                </c:pt>
                <c:pt idx="7">
                  <c:v>0.00056713550549836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15910760716935357</c:v>
                </c:pt>
                <c:pt idx="3">
                  <c:v>0.0018538000819429254</c:v>
                </c:pt>
                <c:pt idx="5">
                  <c:v>0.00173077606510401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08333806811121813</c:v>
                </c:pt>
                <c:pt idx="3">
                  <c:v>0.002628847094727876</c:v>
                </c:pt>
                <c:pt idx="4">
                  <c:v>0.002435391488778450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152441015612142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7099938304877336</c:v>
                </c:pt>
                <c:pt idx="3">
                  <c:v>0.0011170762645086412</c:v>
                </c:pt>
                <c:pt idx="4">
                  <c:v>0.001477825802588982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982406371455527</c:v>
                </c:pt>
                <c:pt idx="5">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8142641418182653</c:v>
                </c:pt>
                <c:pt idx="1">
                  <c:v>0.08977206552907226</c:v>
                </c:pt>
                <c:pt idx="2">
                  <c:v>0.027820754268219953</c:v>
                </c:pt>
                <c:pt idx="3">
                  <c:v>0.11681726774748077</c:v>
                </c:pt>
                <c:pt idx="4">
                  <c:v>0.07372329957225142</c:v>
                </c:pt>
                <c:pt idx="5">
                  <c:v>0.04349932204101451</c:v>
                </c:pt>
                <c:pt idx="6">
                  <c:v>0.5044018676621578</c:v>
                </c:pt>
                <c:pt idx="7">
                  <c:v>0.125822781761620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7012310710717363</c:v>
                </c:pt>
                <c:pt idx="1">
                  <c:v>0.08497509048214953</c:v>
                </c:pt>
                <c:pt idx="2">
                  <c:v>0.021280657310724267</c:v>
                </c:pt>
                <c:pt idx="3">
                  <c:v>0.1195039190711562</c:v>
                </c:pt>
                <c:pt idx="4">
                  <c:v>0.07512330802363665</c:v>
                </c:pt>
                <c:pt idx="5">
                  <c:v>0.04497889889898557</c:v>
                </c:pt>
                <c:pt idx="6">
                  <c:v>0.5084765924892164</c:v>
                </c:pt>
                <c:pt idx="7">
                  <c:v>0.128649223013413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001184050249328</c:v>
                </c:pt>
                <c:pt idx="5">
                  <c:v>0.002076521517570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619976805116404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48709502165747275</c:v>
                </c:pt>
                <c:pt idx="2">
                  <c:v>0.00982406371455527</c:v>
                </c:pt>
                <c:pt idx="5">
                  <c:v>0.0013360994713475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16802447120148726</c:v>
                </c:pt>
                <c:pt idx="2">
                  <c:v>0.04241814294214397</c:v>
                </c:pt>
                <c:pt idx="3">
                  <c:v>0.036825612288710195</c:v>
                </c:pt>
                <c:pt idx="4">
                  <c:v>0.15466907169927666</c:v>
                </c:pt>
                <c:pt idx="5">
                  <c:v>0.05447975756684023</c:v>
                </c:pt>
                <c:pt idx="6">
                  <c:v>0.08782062059065275</c:v>
                </c:pt>
                <c:pt idx="7">
                  <c:v>0.0073094516871945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5226862882689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0058958992497093</c:v>
                </c:pt>
                <c:pt idx="4">
                  <c:v>0.0470568817713853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38084647817545414</c:v>
                </c:pt>
                <c:pt idx="3">
                  <c:v>0.05143677585409391</c:v>
                </c:pt>
                <c:pt idx="4">
                  <c:v>0.1281257956743085</c:v>
                </c:pt>
                <c:pt idx="5">
                  <c:v>0.011481727388128042</c:v>
                </c:pt>
                <c:pt idx="6">
                  <c:v>0.000862270577499066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31413251622228063</c:v>
                </c:pt>
                <c:pt idx="4">
                  <c:v>0.006030627780695943</c:v>
                </c:pt>
                <c:pt idx="5">
                  <c:v>0.00443634681334110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3616246226144931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19435298747451548</c:v>
                </c:pt>
                <c:pt idx="4">
                  <c:v>0.0109953162984658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7">
                  <c:v>0.0022214049764099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25623156359541738</c:v>
                </c:pt>
                <c:pt idx="4">
                  <c:v>0.07652827914762202</c:v>
                </c:pt>
                <c:pt idx="5">
                  <c:v>0.06008920409150242</c:v>
                </c:pt>
                <c:pt idx="6">
                  <c:v>0.0776849816347099</c:v>
                </c:pt>
                <c:pt idx="7">
                  <c:v>0.00140230178728148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2710823132784576</c:v>
                </c:pt>
                <c:pt idx="1">
                  <c:v>0.10788394773254027</c:v>
                </c:pt>
                <c:pt idx="2">
                  <c:v>0.04693510634994417</c:v>
                </c:pt>
                <c:pt idx="3">
                  <c:v>0.18721915904999423</c:v>
                </c:pt>
                <c:pt idx="4">
                  <c:v>0.11435667812667058</c:v>
                </c:pt>
                <c:pt idx="5">
                  <c:v>0.05217955609508233</c:v>
                </c:pt>
                <c:pt idx="6">
                  <c:v>0.36270526334207537</c:v>
                </c:pt>
                <c:pt idx="7">
                  <c:v>0.1160094661709084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6">
                  <c:v>0.0115986623375866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272171979513603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011064181797789948</c:v>
                </c:pt>
                <c:pt idx="1">
                  <c:v>0.10089685436631027</c:v>
                </c:pt>
                <c:pt idx="2">
                  <c:v>0.04220597803109721</c:v>
                </c:pt>
                <c:pt idx="3">
                  <c:v>0.19017620271128785</c:v>
                </c:pt>
                <c:pt idx="4">
                  <c:v>0.11594202997896508</c:v>
                </c:pt>
                <c:pt idx="5">
                  <c:v>0.054052993407344894</c:v>
                </c:pt>
                <c:pt idx="6">
                  <c:v>0.36677238123060296</c:v>
                </c:pt>
                <c:pt idx="7">
                  <c:v>0.1188893784766017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0863587142948447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osmetics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4">
                  <c:v>0.001464218880059365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Derma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2">
                  <c:v>0.00627626697681225</c:v>
                </c:pt>
                <c:pt idx="3">
                  <c:v>0.0015020415940527627</c:v>
                </c:pt>
                <c:pt idx="4">
                  <c:v>0.022418197200598854</c:v>
                </c:pt>
                <c:pt idx="5">
                  <c:v>0.00381999470341730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05571625189934514</c:v>
                </c:pt>
                <c:pt idx="2">
                  <c:v>0.001931840369391561</c:v>
                </c:pt>
                <c:pt idx="3">
                  <c:v>0.006032822056444911</c:v>
                </c:pt>
                <c:pt idx="5">
                  <c:v>0.0036407822186106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600534562239467</c:v>
                </c:pt>
                <c:pt idx="2">
                  <c:v>0.04993714287014782</c:v>
                </c:pt>
                <c:pt idx="3">
                  <c:v>0.11860370139382811</c:v>
                </c:pt>
                <c:pt idx="4">
                  <c:v>0.44604273186134874</c:v>
                </c:pt>
                <c:pt idx="5">
                  <c:v>0.13567675574807833</c:v>
                </c:pt>
                <c:pt idx="6">
                  <c:v>0.1750366434426072</c:v>
                </c:pt>
                <c:pt idx="7">
                  <c:v>0.01464956846004308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1">
                  <c:v>0.05339973504319811</c:v>
                </c:pt>
                <c:pt idx="2">
                  <c:v>0.050773027387992394</c:v>
                </c:pt>
                <c:pt idx="3">
                  <c:v>0.11301493567700069</c:v>
                </c:pt>
                <c:pt idx="4">
                  <c:v>0.45200317028960213</c:v>
                </c:pt>
                <c:pt idx="5">
                  <c:v>0.13794781278183976</c:v>
                </c:pt>
                <c:pt idx="6">
                  <c:v>0.1779665351404484</c:v>
                </c:pt>
                <c:pt idx="7">
                  <c:v>0.0148947836799185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ort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3">
                  <c:v>0.008564617311527073</c:v>
                </c:pt>
                <c:pt idx="4">
                  <c:v>0.0018312228523206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3/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3/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7.xml"/><Relationship Id="rId7" Type="http://schemas.openxmlformats.org/officeDocument/2006/relationships/chart" Target="../charts/chart578.xml"/><Relationship Id="rId8" Type="http://schemas.openxmlformats.org/officeDocument/2006/relationships/chart" Target="../charts/chart579.xml"/><Relationship Id="rId9" Type="http://schemas.openxmlformats.org/officeDocument/2006/relationships/chart" Target="../charts/chart580.xml"/><Relationship Id="rId10" Type="http://schemas.openxmlformats.org/officeDocument/2006/relationships/chart" Target="../charts/chart581.xml"/><Relationship Id="rId11" Type="http://schemas.openxmlformats.org/officeDocument/2006/relationships/chart" Target="../charts/chart582.xml"/><Relationship Id="rId12" Type="http://schemas.openxmlformats.org/officeDocument/2006/relationships/chart" Target="../charts/chart583.xml"/><Relationship Id="rId13" Type="http://schemas.openxmlformats.org/officeDocument/2006/relationships/chart" Target="../charts/chart584.xml"/><Relationship Id="rId14" Type="http://schemas.openxmlformats.org/officeDocument/2006/relationships/chart" Target="../charts/chart585.xml"/><Relationship Id="rId15" Type="http://schemas.openxmlformats.org/officeDocument/2006/relationships/chart" Target="../charts/chart586.xml"/><Relationship Id="rId16" Type="http://schemas.openxmlformats.org/officeDocument/2006/relationships/chart" Target="../charts/chart587.xml"/><Relationship Id="rId17" Type="http://schemas.openxmlformats.org/officeDocument/2006/relationships/chart" Target="../charts/chart58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9.xml"/><Relationship Id="rId7" Type="http://schemas.openxmlformats.org/officeDocument/2006/relationships/chart" Target="../charts/chart590.xml"/><Relationship Id="rId8" Type="http://schemas.openxmlformats.org/officeDocument/2006/relationships/chart" Target="../charts/chart591.xml"/><Relationship Id="rId9" Type="http://schemas.openxmlformats.org/officeDocument/2006/relationships/chart" Target="../charts/chart592.xml"/><Relationship Id="rId10" Type="http://schemas.openxmlformats.org/officeDocument/2006/relationships/chart" Target="../charts/chart593.xml"/><Relationship Id="rId11" Type="http://schemas.openxmlformats.org/officeDocument/2006/relationships/chart" Target="../charts/chart594.xml"/><Relationship Id="rId12" Type="http://schemas.openxmlformats.org/officeDocument/2006/relationships/chart" Target="../charts/chart595.xml"/><Relationship Id="rId13" Type="http://schemas.openxmlformats.org/officeDocument/2006/relationships/chart" Target="../charts/chart596.xml"/><Relationship Id="rId14" Type="http://schemas.openxmlformats.org/officeDocument/2006/relationships/chart" Target="../charts/chart597.xml"/><Relationship Id="rId15" Type="http://schemas.openxmlformats.org/officeDocument/2006/relationships/chart" Target="../charts/chart598.xml"/><Relationship Id="rId16" Type="http://schemas.openxmlformats.org/officeDocument/2006/relationships/chart" Target="../charts/chart599.xml"/><Relationship Id="rId17" Type="http://schemas.openxmlformats.org/officeDocument/2006/relationships/chart" Target="../charts/chart60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1.xml"/><Relationship Id="rId7" Type="http://schemas.openxmlformats.org/officeDocument/2006/relationships/chart" Target="../charts/chart602.xml"/><Relationship Id="rId8" Type="http://schemas.openxmlformats.org/officeDocument/2006/relationships/chart" Target="../charts/chart603.xml"/><Relationship Id="rId9" Type="http://schemas.openxmlformats.org/officeDocument/2006/relationships/chart" Target="../charts/chart604.xml"/><Relationship Id="rId10" Type="http://schemas.openxmlformats.org/officeDocument/2006/relationships/chart" Target="../charts/chart605.xml"/><Relationship Id="rId11" Type="http://schemas.openxmlformats.org/officeDocument/2006/relationships/chart" Target="../charts/chart606.xml"/><Relationship Id="rId12" Type="http://schemas.openxmlformats.org/officeDocument/2006/relationships/chart" Target="../charts/chart607.xml"/><Relationship Id="rId13" Type="http://schemas.openxmlformats.org/officeDocument/2006/relationships/chart" Target="../charts/chart608.xml"/><Relationship Id="rId14" Type="http://schemas.openxmlformats.org/officeDocument/2006/relationships/chart" Target="../charts/chart609.xml"/><Relationship Id="rId15" Type="http://schemas.openxmlformats.org/officeDocument/2006/relationships/chart" Target="../charts/chart610.xml"/><Relationship Id="rId16" Type="http://schemas.openxmlformats.org/officeDocument/2006/relationships/chart" Target="../charts/chart611.xml"/><Relationship Id="rId17" Type="http://schemas.openxmlformats.org/officeDocument/2006/relationships/chart" Target="../charts/chart612.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3.xml"/><Relationship Id="rId7" Type="http://schemas.openxmlformats.org/officeDocument/2006/relationships/chart" Target="../charts/chart614.xml"/><Relationship Id="rId8" Type="http://schemas.openxmlformats.org/officeDocument/2006/relationships/chart" Target="../charts/chart615.xml"/><Relationship Id="rId9" Type="http://schemas.openxmlformats.org/officeDocument/2006/relationships/chart" Target="../charts/chart616.xml"/><Relationship Id="rId10" Type="http://schemas.openxmlformats.org/officeDocument/2006/relationships/chart" Target="../charts/chart617.xml"/><Relationship Id="rId11" Type="http://schemas.openxmlformats.org/officeDocument/2006/relationships/chart" Target="../charts/chart618.xml"/><Relationship Id="rId12" Type="http://schemas.openxmlformats.org/officeDocument/2006/relationships/chart" Target="../charts/chart619.xml"/><Relationship Id="rId13" Type="http://schemas.openxmlformats.org/officeDocument/2006/relationships/chart" Target="../charts/chart620.xml"/><Relationship Id="rId14" Type="http://schemas.openxmlformats.org/officeDocument/2006/relationships/chart" Target="../charts/chart621.xml"/><Relationship Id="rId15" Type="http://schemas.openxmlformats.org/officeDocument/2006/relationships/chart" Target="../charts/chart622.xml"/><Relationship Id="rId16" Type="http://schemas.openxmlformats.org/officeDocument/2006/relationships/chart" Target="../charts/chart623.xml"/><Relationship Id="rId17" Type="http://schemas.openxmlformats.org/officeDocument/2006/relationships/chart" Target="../charts/chart624.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5.xml"/><Relationship Id="rId7" Type="http://schemas.openxmlformats.org/officeDocument/2006/relationships/chart" Target="../charts/chart626.xml"/><Relationship Id="rId8" Type="http://schemas.openxmlformats.org/officeDocument/2006/relationships/chart" Target="../charts/chart627.xml"/><Relationship Id="rId9" Type="http://schemas.openxmlformats.org/officeDocument/2006/relationships/chart" Target="../charts/chart628.xml"/><Relationship Id="rId10" Type="http://schemas.openxmlformats.org/officeDocument/2006/relationships/chart" Target="../charts/chart629.xml"/><Relationship Id="rId11" Type="http://schemas.openxmlformats.org/officeDocument/2006/relationships/chart" Target="../charts/chart630.xml"/><Relationship Id="rId12" Type="http://schemas.openxmlformats.org/officeDocument/2006/relationships/chart" Target="../charts/chart631.xml"/><Relationship Id="rId13" Type="http://schemas.openxmlformats.org/officeDocument/2006/relationships/chart" Target="../charts/chart632.xml"/><Relationship Id="rId14" Type="http://schemas.openxmlformats.org/officeDocument/2006/relationships/chart" Target="../charts/chart633.xml"/><Relationship Id="rId15" Type="http://schemas.openxmlformats.org/officeDocument/2006/relationships/chart" Target="../charts/chart634.xml"/><Relationship Id="rId16" Type="http://schemas.openxmlformats.org/officeDocument/2006/relationships/chart" Target="../charts/chart635.xml"/><Relationship Id="rId17" Type="http://schemas.openxmlformats.org/officeDocument/2006/relationships/chart" Target="../charts/chart636.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7.xml"/><Relationship Id="rId7" Type="http://schemas.openxmlformats.org/officeDocument/2006/relationships/chart" Target="../charts/chart638.xml"/><Relationship Id="rId8" Type="http://schemas.openxmlformats.org/officeDocument/2006/relationships/chart" Target="../charts/chart639.xml"/><Relationship Id="rId9" Type="http://schemas.openxmlformats.org/officeDocument/2006/relationships/chart" Target="../charts/chart640.xml"/><Relationship Id="rId10" Type="http://schemas.openxmlformats.org/officeDocument/2006/relationships/chart" Target="../charts/chart641.xml"/><Relationship Id="rId11" Type="http://schemas.openxmlformats.org/officeDocument/2006/relationships/chart" Target="../charts/chart642.xml"/><Relationship Id="rId12" Type="http://schemas.openxmlformats.org/officeDocument/2006/relationships/chart" Target="../charts/chart643.xml"/><Relationship Id="rId13" Type="http://schemas.openxmlformats.org/officeDocument/2006/relationships/chart" Target="../charts/chart644.xml"/><Relationship Id="rId14" Type="http://schemas.openxmlformats.org/officeDocument/2006/relationships/chart" Target="../charts/chart645.xml"/><Relationship Id="rId15" Type="http://schemas.openxmlformats.org/officeDocument/2006/relationships/chart" Target="../charts/chart646.xml"/><Relationship Id="rId16" Type="http://schemas.openxmlformats.org/officeDocument/2006/relationships/chart" Target="../charts/chart647.xml"/><Relationship Id="rId17" Type="http://schemas.openxmlformats.org/officeDocument/2006/relationships/chart" Target="../charts/chart648.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9.xml"/><Relationship Id="rId7" Type="http://schemas.openxmlformats.org/officeDocument/2006/relationships/chart" Target="../charts/chart650.xml"/><Relationship Id="rId8" Type="http://schemas.openxmlformats.org/officeDocument/2006/relationships/chart" Target="../charts/chart651.xml"/><Relationship Id="rId9" Type="http://schemas.openxmlformats.org/officeDocument/2006/relationships/chart" Target="../charts/chart652.xml"/><Relationship Id="rId10" Type="http://schemas.openxmlformats.org/officeDocument/2006/relationships/chart" Target="../charts/chart653.xml"/><Relationship Id="rId11" Type="http://schemas.openxmlformats.org/officeDocument/2006/relationships/chart" Target="../charts/chart654.xml"/><Relationship Id="rId12" Type="http://schemas.openxmlformats.org/officeDocument/2006/relationships/chart" Target="../charts/chart655.xml"/><Relationship Id="rId13" Type="http://schemas.openxmlformats.org/officeDocument/2006/relationships/chart" Target="../charts/chart656.xml"/><Relationship Id="rId14" Type="http://schemas.openxmlformats.org/officeDocument/2006/relationships/chart" Target="../charts/chart657.xml"/><Relationship Id="rId15" Type="http://schemas.openxmlformats.org/officeDocument/2006/relationships/chart" Target="../charts/chart658.xml"/><Relationship Id="rId16" Type="http://schemas.openxmlformats.org/officeDocument/2006/relationships/chart" Target="../charts/chart659.xml"/><Relationship Id="rId17" Type="http://schemas.openxmlformats.org/officeDocument/2006/relationships/chart" Target="../charts/chart660.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1.xml"/><Relationship Id="rId7" Type="http://schemas.openxmlformats.org/officeDocument/2006/relationships/chart" Target="../charts/chart662.xml"/><Relationship Id="rId8" Type="http://schemas.openxmlformats.org/officeDocument/2006/relationships/chart" Target="../charts/chart663.xml"/><Relationship Id="rId9" Type="http://schemas.openxmlformats.org/officeDocument/2006/relationships/chart" Target="../charts/chart664.xml"/><Relationship Id="rId10" Type="http://schemas.openxmlformats.org/officeDocument/2006/relationships/chart" Target="../charts/chart665.xml"/><Relationship Id="rId11" Type="http://schemas.openxmlformats.org/officeDocument/2006/relationships/chart" Target="../charts/chart666.xml"/><Relationship Id="rId12" Type="http://schemas.openxmlformats.org/officeDocument/2006/relationships/chart" Target="../charts/chart667.xml"/><Relationship Id="rId13" Type="http://schemas.openxmlformats.org/officeDocument/2006/relationships/chart" Target="../charts/chart668.xml"/><Relationship Id="rId14" Type="http://schemas.openxmlformats.org/officeDocument/2006/relationships/chart" Target="../charts/chart669.xml"/><Relationship Id="rId15" Type="http://schemas.openxmlformats.org/officeDocument/2006/relationships/chart" Target="../charts/chart670.xml"/><Relationship Id="rId16" Type="http://schemas.openxmlformats.org/officeDocument/2006/relationships/chart" Target="../charts/chart671.xml"/><Relationship Id="rId17" Type="http://schemas.openxmlformats.org/officeDocument/2006/relationships/chart" Target="../charts/chart672.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3.xml"/><Relationship Id="rId7" Type="http://schemas.openxmlformats.org/officeDocument/2006/relationships/chart" Target="../charts/chart674.xml"/><Relationship Id="rId8" Type="http://schemas.openxmlformats.org/officeDocument/2006/relationships/chart" Target="../charts/chart675.xml"/><Relationship Id="rId9" Type="http://schemas.openxmlformats.org/officeDocument/2006/relationships/chart" Target="../charts/chart676.xml"/><Relationship Id="rId10" Type="http://schemas.openxmlformats.org/officeDocument/2006/relationships/chart" Target="../charts/chart677.xml"/><Relationship Id="rId11" Type="http://schemas.openxmlformats.org/officeDocument/2006/relationships/chart" Target="../charts/chart678.xml"/><Relationship Id="rId12" Type="http://schemas.openxmlformats.org/officeDocument/2006/relationships/chart" Target="../charts/chart679.xml"/><Relationship Id="rId13" Type="http://schemas.openxmlformats.org/officeDocument/2006/relationships/chart" Target="../charts/chart680.xml"/><Relationship Id="rId14" Type="http://schemas.openxmlformats.org/officeDocument/2006/relationships/chart" Target="../charts/chart681.xml"/><Relationship Id="rId15" Type="http://schemas.openxmlformats.org/officeDocument/2006/relationships/chart" Target="../charts/chart682.xml"/><Relationship Id="rId16" Type="http://schemas.openxmlformats.org/officeDocument/2006/relationships/chart" Target="../charts/chart683.xml"/><Relationship Id="rId17" Type="http://schemas.openxmlformats.org/officeDocument/2006/relationships/chart" Target="../charts/chart684.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5.xml"/><Relationship Id="rId7" Type="http://schemas.openxmlformats.org/officeDocument/2006/relationships/chart" Target="../charts/chart686.xml"/><Relationship Id="rId8" Type="http://schemas.openxmlformats.org/officeDocument/2006/relationships/chart" Target="../charts/chart687.xml"/><Relationship Id="rId9" Type="http://schemas.openxmlformats.org/officeDocument/2006/relationships/chart" Target="../charts/chart688.xml"/><Relationship Id="rId10" Type="http://schemas.openxmlformats.org/officeDocument/2006/relationships/chart" Target="../charts/chart689.xml"/><Relationship Id="rId11" Type="http://schemas.openxmlformats.org/officeDocument/2006/relationships/chart" Target="../charts/chart690.xml"/><Relationship Id="rId12" Type="http://schemas.openxmlformats.org/officeDocument/2006/relationships/chart" Target="../charts/chart691.xml"/><Relationship Id="rId13" Type="http://schemas.openxmlformats.org/officeDocument/2006/relationships/chart" Target="../charts/chart692.xml"/><Relationship Id="rId14" Type="http://schemas.openxmlformats.org/officeDocument/2006/relationships/chart" Target="../charts/chart693.xml"/><Relationship Id="rId15" Type="http://schemas.openxmlformats.org/officeDocument/2006/relationships/chart" Target="../charts/chart694.xml"/><Relationship Id="rId16" Type="http://schemas.openxmlformats.org/officeDocument/2006/relationships/chart" Target="../charts/chart695.xml"/><Relationship Id="rId17" Type="http://schemas.openxmlformats.org/officeDocument/2006/relationships/chart" Target="../charts/chart696.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7.xml"/><Relationship Id="rId7" Type="http://schemas.openxmlformats.org/officeDocument/2006/relationships/chart" Target="../charts/chart698.xml"/><Relationship Id="rId8" Type="http://schemas.openxmlformats.org/officeDocument/2006/relationships/chart" Target="../charts/chart699.xml"/><Relationship Id="rId9" Type="http://schemas.openxmlformats.org/officeDocument/2006/relationships/chart" Target="../charts/chart700.xml"/><Relationship Id="rId10" Type="http://schemas.openxmlformats.org/officeDocument/2006/relationships/chart" Target="../charts/chart701.xml"/><Relationship Id="rId11" Type="http://schemas.openxmlformats.org/officeDocument/2006/relationships/chart" Target="../charts/chart702.xml"/><Relationship Id="rId12" Type="http://schemas.openxmlformats.org/officeDocument/2006/relationships/chart" Target="../charts/chart703.xml"/><Relationship Id="rId13" Type="http://schemas.openxmlformats.org/officeDocument/2006/relationships/chart" Target="../charts/chart704.xml"/><Relationship Id="rId14" Type="http://schemas.openxmlformats.org/officeDocument/2006/relationships/chart" Target="../charts/chart705.xml"/><Relationship Id="rId15" Type="http://schemas.openxmlformats.org/officeDocument/2006/relationships/chart" Target="../charts/chart706.xml"/><Relationship Id="rId16" Type="http://schemas.openxmlformats.org/officeDocument/2006/relationships/chart" Target="../charts/chart707.xml"/><Relationship Id="rId17" Type="http://schemas.openxmlformats.org/officeDocument/2006/relationships/chart" Target="../charts/chart70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9.xml"/><Relationship Id="rId7" Type="http://schemas.openxmlformats.org/officeDocument/2006/relationships/chart" Target="../charts/chart710.xml"/><Relationship Id="rId8" Type="http://schemas.openxmlformats.org/officeDocument/2006/relationships/chart" Target="../charts/chart711.xml"/><Relationship Id="rId9" Type="http://schemas.openxmlformats.org/officeDocument/2006/relationships/chart" Target="../charts/chart712.xml"/><Relationship Id="rId10" Type="http://schemas.openxmlformats.org/officeDocument/2006/relationships/chart" Target="../charts/chart713.xml"/><Relationship Id="rId11" Type="http://schemas.openxmlformats.org/officeDocument/2006/relationships/chart" Target="../charts/chart714.xml"/><Relationship Id="rId12" Type="http://schemas.openxmlformats.org/officeDocument/2006/relationships/chart" Target="../charts/chart715.xml"/><Relationship Id="rId13" Type="http://schemas.openxmlformats.org/officeDocument/2006/relationships/chart" Target="../charts/chart716.xml"/><Relationship Id="rId14" Type="http://schemas.openxmlformats.org/officeDocument/2006/relationships/chart" Target="../charts/chart717.xml"/><Relationship Id="rId15" Type="http://schemas.openxmlformats.org/officeDocument/2006/relationships/chart" Target="../charts/chart718.xml"/><Relationship Id="rId16" Type="http://schemas.openxmlformats.org/officeDocument/2006/relationships/chart" Target="../charts/chart719.xml"/><Relationship Id="rId17" Type="http://schemas.openxmlformats.org/officeDocument/2006/relationships/chart" Target="../charts/chart72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1.xml"/><Relationship Id="rId7" Type="http://schemas.openxmlformats.org/officeDocument/2006/relationships/chart" Target="../charts/chart722.xml"/><Relationship Id="rId8" Type="http://schemas.openxmlformats.org/officeDocument/2006/relationships/chart" Target="../charts/chart723.xml"/><Relationship Id="rId9" Type="http://schemas.openxmlformats.org/officeDocument/2006/relationships/chart" Target="../charts/chart724.xml"/><Relationship Id="rId10" Type="http://schemas.openxmlformats.org/officeDocument/2006/relationships/chart" Target="../charts/chart725.xml"/><Relationship Id="rId11" Type="http://schemas.openxmlformats.org/officeDocument/2006/relationships/chart" Target="../charts/chart726.xml"/><Relationship Id="rId12" Type="http://schemas.openxmlformats.org/officeDocument/2006/relationships/chart" Target="../charts/chart727.xml"/><Relationship Id="rId13" Type="http://schemas.openxmlformats.org/officeDocument/2006/relationships/chart" Target="../charts/chart728.xml"/><Relationship Id="rId14" Type="http://schemas.openxmlformats.org/officeDocument/2006/relationships/chart" Target="../charts/chart729.xml"/><Relationship Id="rId15" Type="http://schemas.openxmlformats.org/officeDocument/2006/relationships/chart" Target="../charts/chart730.xml"/><Relationship Id="rId16" Type="http://schemas.openxmlformats.org/officeDocument/2006/relationships/chart" Target="../charts/chart731.xml"/><Relationship Id="rId17" Type="http://schemas.openxmlformats.org/officeDocument/2006/relationships/chart" Target="../charts/chart732.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3.xml"/><Relationship Id="rId7" Type="http://schemas.openxmlformats.org/officeDocument/2006/relationships/chart" Target="../charts/chart734.xml"/><Relationship Id="rId8" Type="http://schemas.openxmlformats.org/officeDocument/2006/relationships/chart" Target="../charts/chart735.xml"/><Relationship Id="rId9" Type="http://schemas.openxmlformats.org/officeDocument/2006/relationships/chart" Target="../charts/chart736.xml"/><Relationship Id="rId10" Type="http://schemas.openxmlformats.org/officeDocument/2006/relationships/chart" Target="../charts/chart737.xml"/><Relationship Id="rId11" Type="http://schemas.openxmlformats.org/officeDocument/2006/relationships/chart" Target="../charts/chart738.xml"/><Relationship Id="rId12" Type="http://schemas.openxmlformats.org/officeDocument/2006/relationships/chart" Target="../charts/chart739.xml"/><Relationship Id="rId13" Type="http://schemas.openxmlformats.org/officeDocument/2006/relationships/chart" Target="../charts/chart740.xml"/><Relationship Id="rId14" Type="http://schemas.openxmlformats.org/officeDocument/2006/relationships/chart" Target="../charts/chart741.xml"/><Relationship Id="rId15" Type="http://schemas.openxmlformats.org/officeDocument/2006/relationships/chart" Target="../charts/chart742.xml"/><Relationship Id="rId16" Type="http://schemas.openxmlformats.org/officeDocument/2006/relationships/chart" Target="../charts/chart743.xml"/><Relationship Id="rId17" Type="http://schemas.openxmlformats.org/officeDocument/2006/relationships/chart" Target="../charts/chart744.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5.xml"/><Relationship Id="rId7" Type="http://schemas.openxmlformats.org/officeDocument/2006/relationships/chart" Target="../charts/chart746.xml"/><Relationship Id="rId8" Type="http://schemas.openxmlformats.org/officeDocument/2006/relationships/chart" Target="../charts/chart747.xml"/><Relationship Id="rId9" Type="http://schemas.openxmlformats.org/officeDocument/2006/relationships/chart" Target="../charts/chart748.xml"/><Relationship Id="rId10" Type="http://schemas.openxmlformats.org/officeDocument/2006/relationships/chart" Target="../charts/chart749.xml"/><Relationship Id="rId11" Type="http://schemas.openxmlformats.org/officeDocument/2006/relationships/chart" Target="../charts/chart750.xml"/><Relationship Id="rId12" Type="http://schemas.openxmlformats.org/officeDocument/2006/relationships/chart" Target="../charts/chart751.xml"/><Relationship Id="rId13" Type="http://schemas.openxmlformats.org/officeDocument/2006/relationships/chart" Target="../charts/chart752.xml"/><Relationship Id="rId14" Type="http://schemas.openxmlformats.org/officeDocument/2006/relationships/chart" Target="../charts/chart753.xml"/><Relationship Id="rId15" Type="http://schemas.openxmlformats.org/officeDocument/2006/relationships/chart" Target="../charts/chart754.xml"/><Relationship Id="rId16" Type="http://schemas.openxmlformats.org/officeDocument/2006/relationships/chart" Target="../charts/chart755.xml"/><Relationship Id="rId17" Type="http://schemas.openxmlformats.org/officeDocument/2006/relationships/chart" Target="../charts/chart756.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7.xml"/><Relationship Id="rId7" Type="http://schemas.openxmlformats.org/officeDocument/2006/relationships/chart" Target="../charts/chart758.xml"/><Relationship Id="rId8" Type="http://schemas.openxmlformats.org/officeDocument/2006/relationships/chart" Target="../charts/chart759.xml"/><Relationship Id="rId9" Type="http://schemas.openxmlformats.org/officeDocument/2006/relationships/chart" Target="../charts/chart760.xml"/><Relationship Id="rId10" Type="http://schemas.openxmlformats.org/officeDocument/2006/relationships/chart" Target="../charts/chart761.xml"/><Relationship Id="rId11" Type="http://schemas.openxmlformats.org/officeDocument/2006/relationships/chart" Target="../charts/chart762.xml"/><Relationship Id="rId12" Type="http://schemas.openxmlformats.org/officeDocument/2006/relationships/chart" Target="../charts/chart763.xml"/><Relationship Id="rId13" Type="http://schemas.openxmlformats.org/officeDocument/2006/relationships/chart" Target="../charts/chart764.xml"/><Relationship Id="rId14" Type="http://schemas.openxmlformats.org/officeDocument/2006/relationships/chart" Target="../charts/chart765.xml"/><Relationship Id="rId15" Type="http://schemas.openxmlformats.org/officeDocument/2006/relationships/chart" Target="../charts/chart766.xml"/><Relationship Id="rId16" Type="http://schemas.openxmlformats.org/officeDocument/2006/relationships/chart" Target="../charts/chart767.xml"/><Relationship Id="rId17" Type="http://schemas.openxmlformats.org/officeDocument/2006/relationships/chart" Target="../charts/chart768.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9.xml"/><Relationship Id="rId7" Type="http://schemas.openxmlformats.org/officeDocument/2006/relationships/chart" Target="../charts/chart770.xml"/><Relationship Id="rId8" Type="http://schemas.openxmlformats.org/officeDocument/2006/relationships/chart" Target="../charts/chart771.xml"/><Relationship Id="rId9" Type="http://schemas.openxmlformats.org/officeDocument/2006/relationships/chart" Target="../charts/chart772.xml"/><Relationship Id="rId10" Type="http://schemas.openxmlformats.org/officeDocument/2006/relationships/chart" Target="../charts/chart773.xml"/><Relationship Id="rId11" Type="http://schemas.openxmlformats.org/officeDocument/2006/relationships/chart" Target="../charts/chart774.xml"/><Relationship Id="rId12" Type="http://schemas.openxmlformats.org/officeDocument/2006/relationships/chart" Target="../charts/chart775.xml"/><Relationship Id="rId13" Type="http://schemas.openxmlformats.org/officeDocument/2006/relationships/chart" Target="../charts/chart776.xml"/><Relationship Id="rId14" Type="http://schemas.openxmlformats.org/officeDocument/2006/relationships/chart" Target="../charts/chart777.xml"/><Relationship Id="rId15" Type="http://schemas.openxmlformats.org/officeDocument/2006/relationships/chart" Target="../charts/chart778.xml"/><Relationship Id="rId16" Type="http://schemas.openxmlformats.org/officeDocument/2006/relationships/chart" Target="../charts/chart779.xml"/><Relationship Id="rId17" Type="http://schemas.openxmlformats.org/officeDocument/2006/relationships/chart" Target="../charts/chart780.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1.xml"/><Relationship Id="rId7" Type="http://schemas.openxmlformats.org/officeDocument/2006/relationships/chart" Target="../charts/chart782.xml"/><Relationship Id="rId8" Type="http://schemas.openxmlformats.org/officeDocument/2006/relationships/chart" Target="../charts/chart783.xml"/><Relationship Id="rId9" Type="http://schemas.openxmlformats.org/officeDocument/2006/relationships/chart" Target="../charts/chart784.xml"/><Relationship Id="rId10" Type="http://schemas.openxmlformats.org/officeDocument/2006/relationships/chart" Target="../charts/chart785.xml"/><Relationship Id="rId11" Type="http://schemas.openxmlformats.org/officeDocument/2006/relationships/chart" Target="../charts/chart786.xml"/><Relationship Id="rId12" Type="http://schemas.openxmlformats.org/officeDocument/2006/relationships/chart" Target="../charts/chart787.xml"/><Relationship Id="rId13" Type="http://schemas.openxmlformats.org/officeDocument/2006/relationships/chart" Target="../charts/chart788.xml"/><Relationship Id="rId14" Type="http://schemas.openxmlformats.org/officeDocument/2006/relationships/chart" Target="../charts/chart789.xml"/><Relationship Id="rId15" Type="http://schemas.openxmlformats.org/officeDocument/2006/relationships/chart" Target="../charts/chart790.xml"/><Relationship Id="rId16" Type="http://schemas.openxmlformats.org/officeDocument/2006/relationships/chart" Target="../charts/chart791.xml"/><Relationship Id="rId17" Type="http://schemas.openxmlformats.org/officeDocument/2006/relationships/chart" Target="../charts/chart792.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3.xml"/><Relationship Id="rId7" Type="http://schemas.openxmlformats.org/officeDocument/2006/relationships/chart" Target="../charts/chart794.xml"/><Relationship Id="rId8" Type="http://schemas.openxmlformats.org/officeDocument/2006/relationships/chart" Target="../charts/chart795.xml"/><Relationship Id="rId9" Type="http://schemas.openxmlformats.org/officeDocument/2006/relationships/chart" Target="../charts/chart796.xml"/><Relationship Id="rId10" Type="http://schemas.openxmlformats.org/officeDocument/2006/relationships/chart" Target="../charts/chart797.xml"/><Relationship Id="rId11" Type="http://schemas.openxmlformats.org/officeDocument/2006/relationships/chart" Target="../charts/chart798.xml"/><Relationship Id="rId12" Type="http://schemas.openxmlformats.org/officeDocument/2006/relationships/chart" Target="../charts/chart799.xml"/><Relationship Id="rId13" Type="http://schemas.openxmlformats.org/officeDocument/2006/relationships/chart" Target="../charts/chart800.xml"/><Relationship Id="rId14" Type="http://schemas.openxmlformats.org/officeDocument/2006/relationships/chart" Target="../charts/chart801.xml"/><Relationship Id="rId15" Type="http://schemas.openxmlformats.org/officeDocument/2006/relationships/chart" Target="../charts/chart802.xml"/><Relationship Id="rId16" Type="http://schemas.openxmlformats.org/officeDocument/2006/relationships/chart" Target="../charts/chart803.xml"/><Relationship Id="rId17" Type="http://schemas.openxmlformats.org/officeDocument/2006/relationships/chart" Target="../charts/chart804.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5.xml"/><Relationship Id="rId7" Type="http://schemas.openxmlformats.org/officeDocument/2006/relationships/chart" Target="../charts/chart806.xml"/><Relationship Id="rId8" Type="http://schemas.openxmlformats.org/officeDocument/2006/relationships/chart" Target="../charts/chart807.xml"/><Relationship Id="rId9" Type="http://schemas.openxmlformats.org/officeDocument/2006/relationships/chart" Target="../charts/chart808.xml"/><Relationship Id="rId10" Type="http://schemas.openxmlformats.org/officeDocument/2006/relationships/chart" Target="../charts/chart809.xml"/><Relationship Id="rId11" Type="http://schemas.openxmlformats.org/officeDocument/2006/relationships/chart" Target="../charts/chart810.xml"/><Relationship Id="rId12" Type="http://schemas.openxmlformats.org/officeDocument/2006/relationships/chart" Target="../charts/chart811.xml"/><Relationship Id="rId13" Type="http://schemas.openxmlformats.org/officeDocument/2006/relationships/chart" Target="../charts/chart812.xml"/><Relationship Id="rId14" Type="http://schemas.openxmlformats.org/officeDocument/2006/relationships/chart" Target="../charts/chart813.xml"/><Relationship Id="rId15" Type="http://schemas.openxmlformats.org/officeDocument/2006/relationships/chart" Target="../charts/chart814.xml"/><Relationship Id="rId16" Type="http://schemas.openxmlformats.org/officeDocument/2006/relationships/chart" Target="../charts/chart815.xml"/><Relationship Id="rId17" Type="http://schemas.openxmlformats.org/officeDocument/2006/relationships/chart" Target="../charts/chart816.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7.xml"/><Relationship Id="rId7" Type="http://schemas.openxmlformats.org/officeDocument/2006/relationships/chart" Target="../charts/chart818.xml"/><Relationship Id="rId8" Type="http://schemas.openxmlformats.org/officeDocument/2006/relationships/chart" Target="../charts/chart819.xml"/><Relationship Id="rId9" Type="http://schemas.openxmlformats.org/officeDocument/2006/relationships/chart" Target="../charts/chart820.xml"/><Relationship Id="rId10" Type="http://schemas.openxmlformats.org/officeDocument/2006/relationships/chart" Target="../charts/chart821.xml"/><Relationship Id="rId11" Type="http://schemas.openxmlformats.org/officeDocument/2006/relationships/chart" Target="../charts/chart822.xml"/><Relationship Id="rId12" Type="http://schemas.openxmlformats.org/officeDocument/2006/relationships/chart" Target="../charts/chart823.xml"/><Relationship Id="rId13" Type="http://schemas.openxmlformats.org/officeDocument/2006/relationships/chart" Target="../charts/chart824.xml"/><Relationship Id="rId14" Type="http://schemas.openxmlformats.org/officeDocument/2006/relationships/chart" Target="../charts/chart825.xml"/><Relationship Id="rId15" Type="http://schemas.openxmlformats.org/officeDocument/2006/relationships/chart" Target="../charts/chart826.xml"/><Relationship Id="rId16" Type="http://schemas.openxmlformats.org/officeDocument/2006/relationships/chart" Target="../charts/chart827.xml"/><Relationship Id="rId17" Type="http://schemas.openxmlformats.org/officeDocument/2006/relationships/chart" Target="../charts/chart82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9.xml"/><Relationship Id="rId7" Type="http://schemas.openxmlformats.org/officeDocument/2006/relationships/chart" Target="../charts/chart830.xml"/><Relationship Id="rId8" Type="http://schemas.openxmlformats.org/officeDocument/2006/relationships/chart" Target="../charts/chart831.xml"/><Relationship Id="rId9" Type="http://schemas.openxmlformats.org/officeDocument/2006/relationships/chart" Target="../charts/chart832.xml"/><Relationship Id="rId10" Type="http://schemas.openxmlformats.org/officeDocument/2006/relationships/chart" Target="../charts/chart833.xml"/><Relationship Id="rId11" Type="http://schemas.openxmlformats.org/officeDocument/2006/relationships/chart" Target="../charts/chart834.xml"/><Relationship Id="rId12" Type="http://schemas.openxmlformats.org/officeDocument/2006/relationships/chart" Target="../charts/chart835.xml"/><Relationship Id="rId13" Type="http://schemas.openxmlformats.org/officeDocument/2006/relationships/chart" Target="../charts/chart836.xml"/><Relationship Id="rId14" Type="http://schemas.openxmlformats.org/officeDocument/2006/relationships/chart" Target="../charts/chart837.xml"/><Relationship Id="rId15" Type="http://schemas.openxmlformats.org/officeDocument/2006/relationships/chart" Target="../charts/chart838.xml"/><Relationship Id="rId16" Type="http://schemas.openxmlformats.org/officeDocument/2006/relationships/chart" Target="../charts/chart839.xml"/><Relationship Id="rId17" Type="http://schemas.openxmlformats.org/officeDocument/2006/relationships/chart" Target="../charts/chart84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1.xml"/><Relationship Id="rId7" Type="http://schemas.openxmlformats.org/officeDocument/2006/relationships/chart" Target="../charts/chart842.xml"/><Relationship Id="rId8" Type="http://schemas.openxmlformats.org/officeDocument/2006/relationships/chart" Target="../charts/chart843.xml"/><Relationship Id="rId9" Type="http://schemas.openxmlformats.org/officeDocument/2006/relationships/chart" Target="../charts/chart844.xml"/><Relationship Id="rId10" Type="http://schemas.openxmlformats.org/officeDocument/2006/relationships/chart" Target="../charts/chart845.xml"/><Relationship Id="rId11" Type="http://schemas.openxmlformats.org/officeDocument/2006/relationships/chart" Target="../charts/chart846.xml"/><Relationship Id="rId12" Type="http://schemas.openxmlformats.org/officeDocument/2006/relationships/chart" Target="../charts/chart847.xml"/><Relationship Id="rId13" Type="http://schemas.openxmlformats.org/officeDocument/2006/relationships/chart" Target="../charts/chart848.xml"/><Relationship Id="rId14" Type="http://schemas.openxmlformats.org/officeDocument/2006/relationships/chart" Target="../charts/chart849.xml"/><Relationship Id="rId15" Type="http://schemas.openxmlformats.org/officeDocument/2006/relationships/chart" Target="../charts/chart850.xml"/><Relationship Id="rId16" Type="http://schemas.openxmlformats.org/officeDocument/2006/relationships/chart" Target="../charts/chart851.xml"/><Relationship Id="rId17" Type="http://schemas.openxmlformats.org/officeDocument/2006/relationships/chart" Target="../charts/chart852.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3.xml"/><Relationship Id="rId7" Type="http://schemas.openxmlformats.org/officeDocument/2006/relationships/chart" Target="../charts/chart854.xml"/><Relationship Id="rId8" Type="http://schemas.openxmlformats.org/officeDocument/2006/relationships/chart" Target="../charts/chart855.xml"/><Relationship Id="rId9" Type="http://schemas.openxmlformats.org/officeDocument/2006/relationships/chart" Target="../charts/chart856.xml"/><Relationship Id="rId10" Type="http://schemas.openxmlformats.org/officeDocument/2006/relationships/chart" Target="../charts/chart857.xml"/><Relationship Id="rId11" Type="http://schemas.openxmlformats.org/officeDocument/2006/relationships/chart" Target="../charts/chart858.xml"/><Relationship Id="rId12" Type="http://schemas.openxmlformats.org/officeDocument/2006/relationships/chart" Target="../charts/chart859.xml"/><Relationship Id="rId13" Type="http://schemas.openxmlformats.org/officeDocument/2006/relationships/chart" Target="../charts/chart860.xml"/><Relationship Id="rId14" Type="http://schemas.openxmlformats.org/officeDocument/2006/relationships/chart" Target="../charts/chart861.xml"/><Relationship Id="rId15" Type="http://schemas.openxmlformats.org/officeDocument/2006/relationships/chart" Target="../charts/chart862.xml"/><Relationship Id="rId16" Type="http://schemas.openxmlformats.org/officeDocument/2006/relationships/chart" Target="../charts/chart863.xml"/><Relationship Id="rId17" Type="http://schemas.openxmlformats.org/officeDocument/2006/relationships/chart" Target="../charts/chart864.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5.xml"/><Relationship Id="rId7" Type="http://schemas.openxmlformats.org/officeDocument/2006/relationships/chart" Target="../charts/chart866.xml"/><Relationship Id="rId8" Type="http://schemas.openxmlformats.org/officeDocument/2006/relationships/chart" Target="../charts/chart867.xml"/><Relationship Id="rId9" Type="http://schemas.openxmlformats.org/officeDocument/2006/relationships/chart" Target="../charts/chart868.xml"/><Relationship Id="rId10" Type="http://schemas.openxmlformats.org/officeDocument/2006/relationships/chart" Target="../charts/chart869.xml"/><Relationship Id="rId11" Type="http://schemas.openxmlformats.org/officeDocument/2006/relationships/chart" Target="../charts/chart870.xml"/><Relationship Id="rId12" Type="http://schemas.openxmlformats.org/officeDocument/2006/relationships/chart" Target="../charts/chart871.xml"/><Relationship Id="rId13" Type="http://schemas.openxmlformats.org/officeDocument/2006/relationships/chart" Target="../charts/chart872.xml"/><Relationship Id="rId14" Type="http://schemas.openxmlformats.org/officeDocument/2006/relationships/chart" Target="../charts/chart873.xml"/><Relationship Id="rId15" Type="http://schemas.openxmlformats.org/officeDocument/2006/relationships/chart" Target="../charts/chart874.xml"/><Relationship Id="rId16" Type="http://schemas.openxmlformats.org/officeDocument/2006/relationships/chart" Target="../charts/chart875.xml"/><Relationship Id="rId17" Type="http://schemas.openxmlformats.org/officeDocument/2006/relationships/chart" Target="../charts/chart876.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7.xml"/><Relationship Id="rId7" Type="http://schemas.openxmlformats.org/officeDocument/2006/relationships/chart" Target="../charts/chart878.xml"/><Relationship Id="rId8" Type="http://schemas.openxmlformats.org/officeDocument/2006/relationships/chart" Target="../charts/chart879.xml"/><Relationship Id="rId9" Type="http://schemas.openxmlformats.org/officeDocument/2006/relationships/chart" Target="../charts/chart880.xml"/><Relationship Id="rId10" Type="http://schemas.openxmlformats.org/officeDocument/2006/relationships/chart" Target="../charts/chart881.xml"/><Relationship Id="rId11" Type="http://schemas.openxmlformats.org/officeDocument/2006/relationships/chart" Target="../charts/chart882.xml"/><Relationship Id="rId12" Type="http://schemas.openxmlformats.org/officeDocument/2006/relationships/chart" Target="../charts/chart883.xml"/><Relationship Id="rId13" Type="http://schemas.openxmlformats.org/officeDocument/2006/relationships/chart" Target="../charts/chart884.xml"/><Relationship Id="rId14" Type="http://schemas.openxmlformats.org/officeDocument/2006/relationships/chart" Target="../charts/chart885.xml"/><Relationship Id="rId15" Type="http://schemas.openxmlformats.org/officeDocument/2006/relationships/chart" Target="../charts/chart886.xml"/><Relationship Id="rId16" Type="http://schemas.openxmlformats.org/officeDocument/2006/relationships/chart" Target="../charts/chart887.xml"/><Relationship Id="rId17" Type="http://schemas.openxmlformats.org/officeDocument/2006/relationships/chart" Target="../charts/chart888.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9.xml"/><Relationship Id="rId7" Type="http://schemas.openxmlformats.org/officeDocument/2006/relationships/chart" Target="../charts/chart890.xml"/><Relationship Id="rId8" Type="http://schemas.openxmlformats.org/officeDocument/2006/relationships/chart" Target="../charts/chart891.xml"/><Relationship Id="rId9" Type="http://schemas.openxmlformats.org/officeDocument/2006/relationships/chart" Target="../charts/chart892.xml"/><Relationship Id="rId10" Type="http://schemas.openxmlformats.org/officeDocument/2006/relationships/chart" Target="../charts/chart893.xml"/><Relationship Id="rId11" Type="http://schemas.openxmlformats.org/officeDocument/2006/relationships/chart" Target="../charts/chart894.xml"/><Relationship Id="rId12" Type="http://schemas.openxmlformats.org/officeDocument/2006/relationships/chart" Target="../charts/chart895.xml"/><Relationship Id="rId13" Type="http://schemas.openxmlformats.org/officeDocument/2006/relationships/chart" Target="../charts/chart896.xml"/><Relationship Id="rId14" Type="http://schemas.openxmlformats.org/officeDocument/2006/relationships/chart" Target="../charts/chart897.xml"/><Relationship Id="rId15" Type="http://schemas.openxmlformats.org/officeDocument/2006/relationships/chart" Target="../charts/chart898.xml"/><Relationship Id="rId16" Type="http://schemas.openxmlformats.org/officeDocument/2006/relationships/chart" Target="../charts/chart899.xml"/><Relationship Id="rId17" Type="http://schemas.openxmlformats.org/officeDocument/2006/relationships/chart" Target="../charts/chart900.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1.xml"/><Relationship Id="rId7" Type="http://schemas.openxmlformats.org/officeDocument/2006/relationships/chart" Target="../charts/chart902.xml"/><Relationship Id="rId8" Type="http://schemas.openxmlformats.org/officeDocument/2006/relationships/chart" Target="../charts/chart903.xml"/><Relationship Id="rId9" Type="http://schemas.openxmlformats.org/officeDocument/2006/relationships/chart" Target="../charts/chart904.xml"/><Relationship Id="rId10" Type="http://schemas.openxmlformats.org/officeDocument/2006/relationships/chart" Target="../charts/chart905.xml"/><Relationship Id="rId11" Type="http://schemas.openxmlformats.org/officeDocument/2006/relationships/chart" Target="../charts/chart906.xml"/><Relationship Id="rId12" Type="http://schemas.openxmlformats.org/officeDocument/2006/relationships/chart" Target="../charts/chart907.xml"/><Relationship Id="rId13" Type="http://schemas.openxmlformats.org/officeDocument/2006/relationships/chart" Target="../charts/chart908.xml"/><Relationship Id="rId14" Type="http://schemas.openxmlformats.org/officeDocument/2006/relationships/chart" Target="../charts/chart909.xml"/><Relationship Id="rId15" Type="http://schemas.openxmlformats.org/officeDocument/2006/relationships/chart" Target="../charts/chart910.xml"/><Relationship Id="rId16" Type="http://schemas.openxmlformats.org/officeDocument/2006/relationships/chart" Target="../charts/chart911.xml"/><Relationship Id="rId17" Type="http://schemas.openxmlformats.org/officeDocument/2006/relationships/chart" Target="../charts/chart912.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3.xml"/><Relationship Id="rId7" Type="http://schemas.openxmlformats.org/officeDocument/2006/relationships/chart" Target="../charts/chart914.xml"/><Relationship Id="rId8" Type="http://schemas.openxmlformats.org/officeDocument/2006/relationships/chart" Target="../charts/chart915.xml"/><Relationship Id="rId9" Type="http://schemas.openxmlformats.org/officeDocument/2006/relationships/chart" Target="../charts/chart916.xml"/><Relationship Id="rId10" Type="http://schemas.openxmlformats.org/officeDocument/2006/relationships/chart" Target="../charts/chart917.xml"/><Relationship Id="rId11" Type="http://schemas.openxmlformats.org/officeDocument/2006/relationships/chart" Target="../charts/chart918.xml"/><Relationship Id="rId12" Type="http://schemas.openxmlformats.org/officeDocument/2006/relationships/chart" Target="../charts/chart919.xml"/><Relationship Id="rId13" Type="http://schemas.openxmlformats.org/officeDocument/2006/relationships/chart" Target="../charts/chart920.xml"/><Relationship Id="rId14" Type="http://schemas.openxmlformats.org/officeDocument/2006/relationships/chart" Target="../charts/chart921.xml"/><Relationship Id="rId15" Type="http://schemas.openxmlformats.org/officeDocument/2006/relationships/chart" Target="../charts/chart922.xml"/><Relationship Id="rId16" Type="http://schemas.openxmlformats.org/officeDocument/2006/relationships/chart" Target="../charts/chart923.xml"/><Relationship Id="rId17" Type="http://schemas.openxmlformats.org/officeDocument/2006/relationships/chart" Target="../charts/chart924.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5.xml"/><Relationship Id="rId7" Type="http://schemas.openxmlformats.org/officeDocument/2006/relationships/chart" Target="../charts/chart926.xml"/><Relationship Id="rId8" Type="http://schemas.openxmlformats.org/officeDocument/2006/relationships/chart" Target="../charts/chart927.xml"/><Relationship Id="rId9" Type="http://schemas.openxmlformats.org/officeDocument/2006/relationships/chart" Target="../charts/chart928.xml"/><Relationship Id="rId10" Type="http://schemas.openxmlformats.org/officeDocument/2006/relationships/chart" Target="../charts/chart929.xml"/><Relationship Id="rId11" Type="http://schemas.openxmlformats.org/officeDocument/2006/relationships/chart" Target="../charts/chart930.xml"/><Relationship Id="rId12" Type="http://schemas.openxmlformats.org/officeDocument/2006/relationships/chart" Target="../charts/chart931.xml"/><Relationship Id="rId13" Type="http://schemas.openxmlformats.org/officeDocument/2006/relationships/chart" Target="../charts/chart932.xml"/><Relationship Id="rId14" Type="http://schemas.openxmlformats.org/officeDocument/2006/relationships/chart" Target="../charts/chart933.xml"/><Relationship Id="rId15" Type="http://schemas.openxmlformats.org/officeDocument/2006/relationships/chart" Target="../charts/chart934.xml"/><Relationship Id="rId16" Type="http://schemas.openxmlformats.org/officeDocument/2006/relationships/chart" Target="../charts/chart935.xml"/><Relationship Id="rId17" Type="http://schemas.openxmlformats.org/officeDocument/2006/relationships/chart" Target="../charts/chart936.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7.xml"/><Relationship Id="rId7" Type="http://schemas.openxmlformats.org/officeDocument/2006/relationships/chart" Target="../charts/chart938.xml"/><Relationship Id="rId8" Type="http://schemas.openxmlformats.org/officeDocument/2006/relationships/chart" Target="../charts/chart939.xml"/><Relationship Id="rId9" Type="http://schemas.openxmlformats.org/officeDocument/2006/relationships/chart" Target="../charts/chart940.xml"/><Relationship Id="rId10" Type="http://schemas.openxmlformats.org/officeDocument/2006/relationships/chart" Target="../charts/chart941.xml"/><Relationship Id="rId11" Type="http://schemas.openxmlformats.org/officeDocument/2006/relationships/chart" Target="../charts/chart942.xml"/><Relationship Id="rId12" Type="http://schemas.openxmlformats.org/officeDocument/2006/relationships/chart" Target="../charts/chart943.xml"/><Relationship Id="rId13" Type="http://schemas.openxmlformats.org/officeDocument/2006/relationships/chart" Target="../charts/chart944.xml"/><Relationship Id="rId14" Type="http://schemas.openxmlformats.org/officeDocument/2006/relationships/chart" Target="../charts/chart945.xml"/><Relationship Id="rId15" Type="http://schemas.openxmlformats.org/officeDocument/2006/relationships/chart" Target="../charts/chart946.xml"/><Relationship Id="rId16" Type="http://schemas.openxmlformats.org/officeDocument/2006/relationships/chart" Target="../charts/chart947.xml"/><Relationship Id="rId17" Type="http://schemas.openxmlformats.org/officeDocument/2006/relationships/chart" Target="../charts/chart948.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9.xml"/><Relationship Id="rId7" Type="http://schemas.openxmlformats.org/officeDocument/2006/relationships/chart" Target="../charts/chart950.xml"/><Relationship Id="rId8" Type="http://schemas.openxmlformats.org/officeDocument/2006/relationships/chart" Target="../charts/chart951.xml"/><Relationship Id="rId9" Type="http://schemas.openxmlformats.org/officeDocument/2006/relationships/chart" Target="../charts/chart952.xml"/><Relationship Id="rId10" Type="http://schemas.openxmlformats.org/officeDocument/2006/relationships/chart" Target="../charts/chart953.xml"/><Relationship Id="rId11" Type="http://schemas.openxmlformats.org/officeDocument/2006/relationships/chart" Target="../charts/chart954.xml"/><Relationship Id="rId12" Type="http://schemas.openxmlformats.org/officeDocument/2006/relationships/chart" Target="../charts/chart955.xml"/><Relationship Id="rId13" Type="http://schemas.openxmlformats.org/officeDocument/2006/relationships/chart" Target="../charts/chart956.xml"/><Relationship Id="rId14" Type="http://schemas.openxmlformats.org/officeDocument/2006/relationships/chart" Target="../charts/chart957.xml"/><Relationship Id="rId15" Type="http://schemas.openxmlformats.org/officeDocument/2006/relationships/chart" Target="../charts/chart958.xml"/><Relationship Id="rId16" Type="http://schemas.openxmlformats.org/officeDocument/2006/relationships/chart" Target="../charts/chart959.xml"/><Relationship Id="rId17" Type="http://schemas.openxmlformats.org/officeDocument/2006/relationships/chart" Target="../charts/chart96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1.xml"/><Relationship Id="rId7" Type="http://schemas.openxmlformats.org/officeDocument/2006/relationships/chart" Target="../charts/chart962.xml"/><Relationship Id="rId8" Type="http://schemas.openxmlformats.org/officeDocument/2006/relationships/chart" Target="../charts/chart963.xml"/><Relationship Id="rId9" Type="http://schemas.openxmlformats.org/officeDocument/2006/relationships/chart" Target="../charts/chart964.xml"/><Relationship Id="rId10" Type="http://schemas.openxmlformats.org/officeDocument/2006/relationships/chart" Target="../charts/chart965.xml"/><Relationship Id="rId11" Type="http://schemas.openxmlformats.org/officeDocument/2006/relationships/chart" Target="../charts/chart966.xml"/><Relationship Id="rId12" Type="http://schemas.openxmlformats.org/officeDocument/2006/relationships/chart" Target="../charts/chart967.xml"/><Relationship Id="rId13" Type="http://schemas.openxmlformats.org/officeDocument/2006/relationships/chart" Target="../charts/chart968.xml"/><Relationship Id="rId14" Type="http://schemas.openxmlformats.org/officeDocument/2006/relationships/chart" Target="../charts/chart969.xml"/><Relationship Id="rId15" Type="http://schemas.openxmlformats.org/officeDocument/2006/relationships/chart" Target="../charts/chart970.xml"/><Relationship Id="rId16" Type="http://schemas.openxmlformats.org/officeDocument/2006/relationships/chart" Target="../charts/chart971.xml"/><Relationship Id="rId17" Type="http://schemas.openxmlformats.org/officeDocument/2006/relationships/chart" Target="../charts/chart972.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3.xml"/><Relationship Id="rId7" Type="http://schemas.openxmlformats.org/officeDocument/2006/relationships/chart" Target="../charts/chart974.xml"/><Relationship Id="rId8" Type="http://schemas.openxmlformats.org/officeDocument/2006/relationships/chart" Target="../charts/chart975.xml"/><Relationship Id="rId9" Type="http://schemas.openxmlformats.org/officeDocument/2006/relationships/chart" Target="../charts/chart976.xml"/><Relationship Id="rId10" Type="http://schemas.openxmlformats.org/officeDocument/2006/relationships/chart" Target="../charts/chart977.xml"/><Relationship Id="rId11" Type="http://schemas.openxmlformats.org/officeDocument/2006/relationships/chart" Target="../charts/chart978.xml"/><Relationship Id="rId12" Type="http://schemas.openxmlformats.org/officeDocument/2006/relationships/chart" Target="../charts/chart979.xml"/><Relationship Id="rId13" Type="http://schemas.openxmlformats.org/officeDocument/2006/relationships/chart" Target="../charts/chart980.xml"/><Relationship Id="rId14" Type="http://schemas.openxmlformats.org/officeDocument/2006/relationships/chart" Target="../charts/chart981.xml"/><Relationship Id="rId15" Type="http://schemas.openxmlformats.org/officeDocument/2006/relationships/chart" Target="../charts/chart982.xml"/><Relationship Id="rId16" Type="http://schemas.openxmlformats.org/officeDocument/2006/relationships/chart" Target="../charts/chart983.xml"/><Relationship Id="rId17" Type="http://schemas.openxmlformats.org/officeDocument/2006/relationships/chart" Target="../charts/chart984.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5.xml"/><Relationship Id="rId7" Type="http://schemas.openxmlformats.org/officeDocument/2006/relationships/chart" Target="../charts/chart986.xml"/><Relationship Id="rId8" Type="http://schemas.openxmlformats.org/officeDocument/2006/relationships/chart" Target="../charts/chart987.xml"/><Relationship Id="rId9" Type="http://schemas.openxmlformats.org/officeDocument/2006/relationships/chart" Target="../charts/chart988.xml"/><Relationship Id="rId10" Type="http://schemas.openxmlformats.org/officeDocument/2006/relationships/chart" Target="../charts/chart989.xml"/><Relationship Id="rId11" Type="http://schemas.openxmlformats.org/officeDocument/2006/relationships/chart" Target="../charts/chart990.xml"/><Relationship Id="rId12" Type="http://schemas.openxmlformats.org/officeDocument/2006/relationships/chart" Target="../charts/chart991.xml"/><Relationship Id="rId13" Type="http://schemas.openxmlformats.org/officeDocument/2006/relationships/chart" Target="../charts/chart992.xml"/><Relationship Id="rId14" Type="http://schemas.openxmlformats.org/officeDocument/2006/relationships/chart" Target="../charts/chart993.xml"/><Relationship Id="rId15" Type="http://schemas.openxmlformats.org/officeDocument/2006/relationships/chart" Target="../charts/chart994.xml"/><Relationship Id="rId16" Type="http://schemas.openxmlformats.org/officeDocument/2006/relationships/chart" Target="../charts/chart995.xml"/><Relationship Id="rId17" Type="http://schemas.openxmlformats.org/officeDocument/2006/relationships/chart" Target="../charts/chart996.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7.xml"/><Relationship Id="rId7" Type="http://schemas.openxmlformats.org/officeDocument/2006/relationships/chart" Target="../charts/chart998.xml"/><Relationship Id="rId8" Type="http://schemas.openxmlformats.org/officeDocument/2006/relationships/chart" Target="../charts/chart999.xml"/><Relationship Id="rId9" Type="http://schemas.openxmlformats.org/officeDocument/2006/relationships/chart" Target="../charts/chart1000.xml"/><Relationship Id="rId10" Type="http://schemas.openxmlformats.org/officeDocument/2006/relationships/chart" Target="../charts/chart1001.xml"/><Relationship Id="rId11" Type="http://schemas.openxmlformats.org/officeDocument/2006/relationships/chart" Target="../charts/chart1002.xml"/><Relationship Id="rId12" Type="http://schemas.openxmlformats.org/officeDocument/2006/relationships/chart" Target="../charts/chart1003.xml"/><Relationship Id="rId13" Type="http://schemas.openxmlformats.org/officeDocument/2006/relationships/chart" Target="../charts/chart1004.xml"/><Relationship Id="rId14" Type="http://schemas.openxmlformats.org/officeDocument/2006/relationships/chart" Target="../charts/chart1005.xml"/><Relationship Id="rId15" Type="http://schemas.openxmlformats.org/officeDocument/2006/relationships/chart" Target="../charts/chart1006.xml"/><Relationship Id="rId16" Type="http://schemas.openxmlformats.org/officeDocument/2006/relationships/chart" Target="../charts/chart1007.xml"/><Relationship Id="rId17" Type="http://schemas.openxmlformats.org/officeDocument/2006/relationships/chart" Target="../charts/chart1008.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9.xml"/><Relationship Id="rId7" Type="http://schemas.openxmlformats.org/officeDocument/2006/relationships/chart" Target="../charts/chart1010.xml"/><Relationship Id="rId8" Type="http://schemas.openxmlformats.org/officeDocument/2006/relationships/chart" Target="../charts/chart1011.xml"/><Relationship Id="rId9" Type="http://schemas.openxmlformats.org/officeDocument/2006/relationships/chart" Target="../charts/chart1012.xml"/><Relationship Id="rId10" Type="http://schemas.openxmlformats.org/officeDocument/2006/relationships/chart" Target="../charts/chart1013.xml"/><Relationship Id="rId11" Type="http://schemas.openxmlformats.org/officeDocument/2006/relationships/chart" Target="../charts/chart1014.xml"/><Relationship Id="rId12" Type="http://schemas.openxmlformats.org/officeDocument/2006/relationships/chart" Target="../charts/chart1015.xml"/><Relationship Id="rId13" Type="http://schemas.openxmlformats.org/officeDocument/2006/relationships/chart" Target="../charts/chart1016.xml"/><Relationship Id="rId14" Type="http://schemas.openxmlformats.org/officeDocument/2006/relationships/chart" Target="../charts/chart1017.xml"/><Relationship Id="rId15" Type="http://schemas.openxmlformats.org/officeDocument/2006/relationships/chart" Target="../charts/chart1018.xml"/><Relationship Id="rId16" Type="http://schemas.openxmlformats.org/officeDocument/2006/relationships/chart" Target="../charts/chart1019.xml"/><Relationship Id="rId17" Type="http://schemas.openxmlformats.org/officeDocument/2006/relationships/chart" Target="../charts/chart1020.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1.xml"/><Relationship Id="rId7" Type="http://schemas.openxmlformats.org/officeDocument/2006/relationships/chart" Target="../charts/chart1022.xml"/><Relationship Id="rId8" Type="http://schemas.openxmlformats.org/officeDocument/2006/relationships/chart" Target="../charts/chart1023.xml"/><Relationship Id="rId9" Type="http://schemas.openxmlformats.org/officeDocument/2006/relationships/chart" Target="../charts/chart1024.xml"/><Relationship Id="rId10" Type="http://schemas.openxmlformats.org/officeDocument/2006/relationships/chart" Target="../charts/chart1025.xml"/><Relationship Id="rId11" Type="http://schemas.openxmlformats.org/officeDocument/2006/relationships/chart" Target="../charts/chart1026.xml"/><Relationship Id="rId12" Type="http://schemas.openxmlformats.org/officeDocument/2006/relationships/chart" Target="../charts/chart1027.xml"/><Relationship Id="rId13" Type="http://schemas.openxmlformats.org/officeDocument/2006/relationships/chart" Target="../charts/chart1028.xml"/><Relationship Id="rId14" Type="http://schemas.openxmlformats.org/officeDocument/2006/relationships/chart" Target="../charts/chart1029.xml"/><Relationship Id="rId15" Type="http://schemas.openxmlformats.org/officeDocument/2006/relationships/chart" Target="../charts/chart1030.xml"/><Relationship Id="rId16" Type="http://schemas.openxmlformats.org/officeDocument/2006/relationships/chart" Target="../charts/chart1031.xml"/><Relationship Id="rId17" Type="http://schemas.openxmlformats.org/officeDocument/2006/relationships/chart" Target="../charts/chart1032.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3.xml"/><Relationship Id="rId7" Type="http://schemas.openxmlformats.org/officeDocument/2006/relationships/chart" Target="../charts/chart1034.xml"/><Relationship Id="rId8" Type="http://schemas.openxmlformats.org/officeDocument/2006/relationships/chart" Target="../charts/chart1035.xml"/><Relationship Id="rId9" Type="http://schemas.openxmlformats.org/officeDocument/2006/relationships/chart" Target="../charts/chart1036.xml"/><Relationship Id="rId10" Type="http://schemas.openxmlformats.org/officeDocument/2006/relationships/chart" Target="../charts/chart1037.xml"/><Relationship Id="rId11" Type="http://schemas.openxmlformats.org/officeDocument/2006/relationships/chart" Target="../charts/chart1038.xml"/><Relationship Id="rId12" Type="http://schemas.openxmlformats.org/officeDocument/2006/relationships/chart" Target="../charts/chart1039.xml"/><Relationship Id="rId13" Type="http://schemas.openxmlformats.org/officeDocument/2006/relationships/chart" Target="../charts/chart1040.xml"/><Relationship Id="rId14" Type="http://schemas.openxmlformats.org/officeDocument/2006/relationships/chart" Target="../charts/chart1041.xml"/><Relationship Id="rId15" Type="http://schemas.openxmlformats.org/officeDocument/2006/relationships/chart" Target="../charts/chart1042.xml"/><Relationship Id="rId16" Type="http://schemas.openxmlformats.org/officeDocument/2006/relationships/chart" Target="../charts/chart1043.xml"/><Relationship Id="rId17" Type="http://schemas.openxmlformats.org/officeDocument/2006/relationships/chart" Target="../charts/chart1044.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5.xml"/><Relationship Id="rId7" Type="http://schemas.openxmlformats.org/officeDocument/2006/relationships/chart" Target="../charts/chart1046.xml"/><Relationship Id="rId8" Type="http://schemas.openxmlformats.org/officeDocument/2006/relationships/chart" Target="../charts/chart1047.xml"/><Relationship Id="rId9" Type="http://schemas.openxmlformats.org/officeDocument/2006/relationships/chart" Target="../charts/chart1048.xml"/><Relationship Id="rId10" Type="http://schemas.openxmlformats.org/officeDocument/2006/relationships/chart" Target="../charts/chart1049.xml"/><Relationship Id="rId11" Type="http://schemas.openxmlformats.org/officeDocument/2006/relationships/chart" Target="../charts/chart1050.xml"/><Relationship Id="rId12" Type="http://schemas.openxmlformats.org/officeDocument/2006/relationships/chart" Target="../charts/chart1051.xml"/><Relationship Id="rId13" Type="http://schemas.openxmlformats.org/officeDocument/2006/relationships/chart" Target="../charts/chart1052.xml"/><Relationship Id="rId14" Type="http://schemas.openxmlformats.org/officeDocument/2006/relationships/chart" Target="../charts/chart1053.xml"/><Relationship Id="rId15" Type="http://schemas.openxmlformats.org/officeDocument/2006/relationships/chart" Target="../charts/chart1054.xml"/><Relationship Id="rId16" Type="http://schemas.openxmlformats.org/officeDocument/2006/relationships/chart" Target="../charts/chart1055.xml"/><Relationship Id="rId17" Type="http://schemas.openxmlformats.org/officeDocument/2006/relationships/chart" Target="../charts/chart1056.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7.xml"/><Relationship Id="rId7" Type="http://schemas.openxmlformats.org/officeDocument/2006/relationships/chart" Target="../charts/chart1058.xml"/><Relationship Id="rId8" Type="http://schemas.openxmlformats.org/officeDocument/2006/relationships/chart" Target="../charts/chart1059.xml"/><Relationship Id="rId9" Type="http://schemas.openxmlformats.org/officeDocument/2006/relationships/chart" Target="../charts/chart1060.xml"/><Relationship Id="rId10" Type="http://schemas.openxmlformats.org/officeDocument/2006/relationships/chart" Target="../charts/chart1061.xml"/><Relationship Id="rId11" Type="http://schemas.openxmlformats.org/officeDocument/2006/relationships/chart" Target="../charts/chart1062.xml"/><Relationship Id="rId12" Type="http://schemas.openxmlformats.org/officeDocument/2006/relationships/chart" Target="../charts/chart1063.xml"/><Relationship Id="rId13" Type="http://schemas.openxmlformats.org/officeDocument/2006/relationships/chart" Target="../charts/chart1064.xml"/><Relationship Id="rId14" Type="http://schemas.openxmlformats.org/officeDocument/2006/relationships/chart" Target="../charts/chart1065.xml"/><Relationship Id="rId15" Type="http://schemas.openxmlformats.org/officeDocument/2006/relationships/chart" Target="../charts/chart1066.xml"/><Relationship Id="rId16" Type="http://schemas.openxmlformats.org/officeDocument/2006/relationships/chart" Target="../charts/chart1067.xml"/><Relationship Id="rId17" Type="http://schemas.openxmlformats.org/officeDocument/2006/relationships/chart" Target="../charts/chart106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9.xml"/><Relationship Id="rId7" Type="http://schemas.openxmlformats.org/officeDocument/2006/relationships/chart" Target="../charts/chart1070.xml"/><Relationship Id="rId8" Type="http://schemas.openxmlformats.org/officeDocument/2006/relationships/chart" Target="../charts/chart1071.xml"/><Relationship Id="rId9" Type="http://schemas.openxmlformats.org/officeDocument/2006/relationships/chart" Target="../charts/chart1072.xml"/><Relationship Id="rId10" Type="http://schemas.openxmlformats.org/officeDocument/2006/relationships/chart" Target="../charts/chart1073.xml"/><Relationship Id="rId11" Type="http://schemas.openxmlformats.org/officeDocument/2006/relationships/chart" Target="../charts/chart1074.xml"/><Relationship Id="rId12" Type="http://schemas.openxmlformats.org/officeDocument/2006/relationships/chart" Target="../charts/chart1075.xml"/><Relationship Id="rId13" Type="http://schemas.openxmlformats.org/officeDocument/2006/relationships/chart" Target="../charts/chart1076.xml"/><Relationship Id="rId14" Type="http://schemas.openxmlformats.org/officeDocument/2006/relationships/chart" Target="../charts/chart1077.xml"/><Relationship Id="rId15" Type="http://schemas.openxmlformats.org/officeDocument/2006/relationships/chart" Target="../charts/chart1078.xml"/><Relationship Id="rId16" Type="http://schemas.openxmlformats.org/officeDocument/2006/relationships/chart" Target="../charts/chart1079.xml"/><Relationship Id="rId17" Type="http://schemas.openxmlformats.org/officeDocument/2006/relationships/chart" Target="../charts/chart10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46269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59666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1443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973963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8291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76906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77579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819442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5835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5816809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859236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85439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94103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11406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262721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34903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329421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0483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31155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257884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441804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58150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415598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8322784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711084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25944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777667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12397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83357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374445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8870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68977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98703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903378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076131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462736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1838663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37560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29050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379495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414890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514114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65138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34054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595714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796715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204992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313596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54010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3325916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086897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983194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918230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094049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25964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818999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6750416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650856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579938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167882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57783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636760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5664176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530378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359786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56661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148970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341908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124136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5269793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477466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639517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030530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524164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94190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4287969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45669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512755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331515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154771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724278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337897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3892409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103709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erum</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3162769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233228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Fl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Loc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246937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Mous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iq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75746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osmetics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Derma Emulsion</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046789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Siz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ort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74662">
                <a:tc>
                  <a:txBody>
                    <a:bodyPr/>
                    <a:lstStyle/>
                    <a:p>
                      <a:pPr algn="ctr">
                        <a:defRPr sz="600">
                          <a:latin typeface="Nexa Bold"/>
                        </a:defRPr>
                      </a:pPr>
                      <a:r>
                        <a:t>27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74662">
                <a:tc>
                  <a:txBody>
                    <a:bodyPr/>
                    <a:lstStyle/>
                    <a:p>
                      <a:pPr algn="ctr">
                        <a:defRPr sz="600">
                          <a:latin typeface="Nexa Bold"/>
                        </a:defRPr>
                      </a:pPr>
                      <a:r>
                        <a:t>240-26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374662">
                <a:tc>
                  <a:txBody>
                    <a:bodyPr/>
                    <a:lstStyle/>
                    <a:p>
                      <a:pPr algn="ctr">
                        <a:defRPr sz="600">
                          <a:latin typeface="Nexa Bold"/>
                        </a:defRPr>
                      </a:pPr>
                      <a:r>
                        <a:t>210-23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374662">
                <a:tc>
                  <a:txBody>
                    <a:bodyPr/>
                    <a:lstStyle/>
                    <a:p>
                      <a:pPr algn="ctr">
                        <a:defRPr sz="600">
                          <a:latin typeface="Nexa Bold"/>
                        </a:defRPr>
                      </a:pPr>
                      <a:r>
                        <a:t>180-20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374662">
                <a:tc>
                  <a:txBody>
                    <a:bodyPr/>
                    <a:lstStyle/>
                    <a:p>
                      <a:pPr algn="ctr">
                        <a:defRPr sz="600">
                          <a:latin typeface="Nexa Bold"/>
                        </a:defRPr>
                      </a:pPr>
                      <a:r>
                        <a:t>120-17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374662">
                <a:tc>
                  <a:txBody>
                    <a:bodyPr/>
                    <a:lstStyle/>
                    <a:p>
                      <a:pPr algn="ctr">
                        <a:defRPr sz="600">
                          <a:latin typeface="Nexa Bold"/>
                        </a:defRPr>
                      </a:pPr>
                      <a:r>
                        <a:t>60-11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374662">
                <a:tc>
                  <a:txBody>
                    <a:bodyPr/>
                    <a:lstStyle/>
                    <a:p>
                      <a:pPr algn="ctr">
                        <a:defRPr sz="600">
                          <a:latin typeface="Nexa Bold"/>
                        </a:defRPr>
                      </a:pPr>
                      <a:r>
                        <a:t>50-5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374662">
                <a:tc>
                  <a:txBody>
                    <a:bodyPr/>
                    <a:lstStyle/>
                    <a:p>
                      <a:pPr algn="ctr">
                        <a:defRPr sz="600">
                          <a:latin typeface="Nexa Bold"/>
                        </a:defRPr>
                      </a:pPr>
                      <a:r>
                        <a:t>0-49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3/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2684887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12510</Words>
  <Application>Microsoft Office PowerPoint</Application>
  <PresentationFormat>On-screen Show (16:9)</PresentationFormat>
  <Paragraphs>3780</Paragraphs>
  <Slides>90</Slides>
  <Notes>9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3T09:2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